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7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8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9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1.xml" ContentType="application/vnd.openxmlformats-officedocument.themeOverr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5.xml" ContentType="application/vnd.openxmlformats-officedocument.presentationml.notesSlide+xml"/>
  <Override PartName="/ppt/tags/tag7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8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notesSlides/notesSlide11.xml" ContentType="application/vnd.openxmlformats-officedocument.presentationml.notesSlid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2.xml" ContentType="application/vnd.openxmlformats-officedocument.drawingml.chart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23.xml" ContentType="application/vnd.openxmlformats-officedocument.drawingml.chart+xml"/>
  <Override PartName="/ppt/notesSlides/notesSlide14.xml" ContentType="application/vnd.openxmlformats-officedocument.presentationml.notesSlide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charts/chart2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charts/chart2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2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24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2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28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9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0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1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2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3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34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5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6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7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8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9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notesSlides/notesSlide20.xml" ContentType="application/vnd.openxmlformats-officedocument.presentationml.notesSlide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notesSlides/notesSlide21.xml" ContentType="application/vnd.openxmlformats-officedocument.presentationml.notesSlide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40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41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42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3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44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charts/chart45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46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charts/chart47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48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49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9" r:id="rId1"/>
    <p:sldMasterId id="2147483705" r:id="rId2"/>
    <p:sldMasterId id="2147483740" r:id="rId3"/>
    <p:sldMasterId id="2147483776" r:id="rId4"/>
    <p:sldMasterId id="2147483809" r:id="rId5"/>
    <p:sldMasterId id="2147483864" r:id="rId6"/>
    <p:sldMasterId id="2147483883" r:id="rId7"/>
    <p:sldMasterId id="2147483894" r:id="rId8"/>
    <p:sldMasterId id="2147483905" r:id="rId9"/>
    <p:sldMasterId id="2147483913" r:id="rId10"/>
  </p:sldMasterIdLst>
  <p:notesMasterIdLst>
    <p:notesMasterId r:id="rId77"/>
  </p:notesMasterIdLst>
  <p:sldIdLst>
    <p:sldId id="1751" r:id="rId11"/>
    <p:sldId id="1801" r:id="rId12"/>
    <p:sldId id="1768" r:id="rId13"/>
    <p:sldId id="2248" r:id="rId14"/>
    <p:sldId id="2270" r:id="rId15"/>
    <p:sldId id="1403" r:id="rId16"/>
    <p:sldId id="2264" r:id="rId17"/>
    <p:sldId id="2265" r:id="rId18"/>
    <p:sldId id="2266" r:id="rId19"/>
    <p:sldId id="2267" r:id="rId20"/>
    <p:sldId id="2268" r:id="rId21"/>
    <p:sldId id="1820" r:id="rId22"/>
    <p:sldId id="2269" r:id="rId23"/>
    <p:sldId id="2255" r:id="rId24"/>
    <p:sldId id="2256" r:id="rId25"/>
    <p:sldId id="2271" r:id="rId26"/>
    <p:sldId id="1404" r:id="rId27"/>
    <p:sldId id="1405" r:id="rId28"/>
    <p:sldId id="2121" r:id="rId29"/>
    <p:sldId id="2215" r:id="rId30"/>
    <p:sldId id="2123" r:id="rId31"/>
    <p:sldId id="2275" r:id="rId32"/>
    <p:sldId id="2257" r:id="rId33"/>
    <p:sldId id="2124" r:id="rId34"/>
    <p:sldId id="2141" r:id="rId35"/>
    <p:sldId id="2125" r:id="rId36"/>
    <p:sldId id="2258" r:id="rId37"/>
    <p:sldId id="2259" r:id="rId38"/>
    <p:sldId id="2272" r:id="rId39"/>
    <p:sldId id="2273" r:id="rId40"/>
    <p:sldId id="2274" r:id="rId41"/>
    <p:sldId id="1727" r:id="rId42"/>
    <p:sldId id="2176" r:id="rId43"/>
    <p:sldId id="2177" r:id="rId44"/>
    <p:sldId id="2178" r:id="rId45"/>
    <p:sldId id="2251" r:id="rId46"/>
    <p:sldId id="2252" r:id="rId47"/>
    <p:sldId id="1415" r:id="rId48"/>
    <p:sldId id="1416" r:id="rId49"/>
    <p:sldId id="1417" r:id="rId50"/>
    <p:sldId id="2276" r:id="rId51"/>
    <p:sldId id="2277" r:id="rId52"/>
    <p:sldId id="1835" r:id="rId53"/>
    <p:sldId id="2165" r:id="rId54"/>
    <p:sldId id="2214" r:id="rId55"/>
    <p:sldId id="2222" r:id="rId56"/>
    <p:sldId id="2253" r:id="rId57"/>
    <p:sldId id="2254" r:id="rId58"/>
    <p:sldId id="2249" r:id="rId59"/>
    <p:sldId id="2250" r:id="rId60"/>
    <p:sldId id="2228" r:id="rId61"/>
    <p:sldId id="2229" r:id="rId62"/>
    <p:sldId id="2231" r:id="rId63"/>
    <p:sldId id="2234" r:id="rId64"/>
    <p:sldId id="2235" r:id="rId65"/>
    <p:sldId id="2236" r:id="rId66"/>
    <p:sldId id="2237" r:id="rId67"/>
    <p:sldId id="2239" r:id="rId68"/>
    <p:sldId id="2238" r:id="rId69"/>
    <p:sldId id="2240" r:id="rId70"/>
    <p:sldId id="2242" r:id="rId71"/>
    <p:sldId id="2243" r:id="rId72"/>
    <p:sldId id="2244" r:id="rId73"/>
    <p:sldId id="2247" r:id="rId74"/>
    <p:sldId id="2245" r:id="rId75"/>
    <p:sldId id="2246" r:id="rId76"/>
  </p:sldIdLst>
  <p:sldSz cx="12192000" cy="6858000"/>
  <p:notesSz cx="6858000" cy="9144000"/>
  <p:embeddedFontLst>
    <p:embeddedFont>
      <p:font typeface="Segoe UI" panose="020B0502040204020203" pitchFamily="34" charset="0"/>
      <p:regular r:id="rId78"/>
      <p:bold r:id="rId79"/>
      <p:italic r:id="rId80"/>
      <p:boldItalic r:id="rId81"/>
    </p:embeddedFont>
    <p:embeddedFont>
      <p:font typeface="Calibri Light" panose="020F0302020204030204" pitchFamily="34" charset="0"/>
      <p:regular r:id="rId82"/>
      <p:italic r:id="rId83"/>
    </p:embeddedFont>
    <p:embeddedFont>
      <p:font typeface="Calibri" panose="020F0502020204030204" pitchFamily="34" charset="0"/>
      <p:regular r:id="rId84"/>
      <p:bold r:id="rId85"/>
      <p:italic r:id="rId86"/>
      <p:boldItalic r:id="rId87"/>
    </p:embeddedFont>
  </p:embeddedFontLst>
  <p:custDataLst>
    <p:tags r:id="rId8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ohlová Radka Mgr." initials="PRM" lastIdx="1" clrIdx="0">
    <p:extLst>
      <p:ext uri="{19B8F6BF-5375-455C-9EA6-DF929625EA0E}">
        <p15:presenceInfo xmlns:p15="http://schemas.microsoft.com/office/powerpoint/2012/main" userId="S::pohlovar@mzcr.cz::15a606af-c9df-42db-9d4e-541ca055171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DEED"/>
    <a:srgbClr val="00FF00"/>
    <a:srgbClr val="D31145"/>
    <a:srgbClr val="305983"/>
    <a:srgbClr val="003399"/>
    <a:srgbClr val="FBCBD8"/>
    <a:srgbClr val="0000FF"/>
    <a:srgbClr val="A19FA0"/>
    <a:srgbClr val="706F6F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260" autoAdjust="0"/>
    <p:restoredTop sz="95770" autoAdjust="0"/>
  </p:normalViewPr>
  <p:slideViewPr>
    <p:cSldViewPr snapToGrid="0">
      <p:cViewPr varScale="1">
        <p:scale>
          <a:sx n="103" d="100"/>
          <a:sy n="103" d="100"/>
        </p:scale>
        <p:origin x="504" y="102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50" Type="http://schemas.openxmlformats.org/officeDocument/2006/relationships/slide" Target="slides/slide40.xml"/><Relationship Id="rId55" Type="http://schemas.openxmlformats.org/officeDocument/2006/relationships/slide" Target="slides/slide45.xml"/><Relationship Id="rId63" Type="http://schemas.openxmlformats.org/officeDocument/2006/relationships/slide" Target="slides/slide53.xml"/><Relationship Id="rId68" Type="http://schemas.openxmlformats.org/officeDocument/2006/relationships/slide" Target="slides/slide58.xml"/><Relationship Id="rId76" Type="http://schemas.openxmlformats.org/officeDocument/2006/relationships/slide" Target="slides/slide66.xml"/><Relationship Id="rId84" Type="http://schemas.openxmlformats.org/officeDocument/2006/relationships/font" Target="fonts/font7.fntdata"/><Relationship Id="rId89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1.xml"/><Relationship Id="rId9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3" Type="http://schemas.openxmlformats.org/officeDocument/2006/relationships/slide" Target="slides/slide43.xml"/><Relationship Id="rId58" Type="http://schemas.openxmlformats.org/officeDocument/2006/relationships/slide" Target="slides/slide48.xml"/><Relationship Id="rId66" Type="http://schemas.openxmlformats.org/officeDocument/2006/relationships/slide" Target="slides/slide56.xml"/><Relationship Id="rId74" Type="http://schemas.openxmlformats.org/officeDocument/2006/relationships/slide" Target="slides/slide64.xml"/><Relationship Id="rId79" Type="http://schemas.openxmlformats.org/officeDocument/2006/relationships/font" Target="fonts/font2.fntdata"/><Relationship Id="rId87" Type="http://schemas.openxmlformats.org/officeDocument/2006/relationships/font" Target="fonts/font10.fntdata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1.xml"/><Relationship Id="rId82" Type="http://schemas.openxmlformats.org/officeDocument/2006/relationships/font" Target="fonts/font5.fntdata"/><Relationship Id="rId90" Type="http://schemas.openxmlformats.org/officeDocument/2006/relationships/presProps" Target="presProps.xml"/><Relationship Id="rId19" Type="http://schemas.openxmlformats.org/officeDocument/2006/relationships/slide" Target="slides/slide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56" Type="http://schemas.openxmlformats.org/officeDocument/2006/relationships/slide" Target="slides/slide46.xml"/><Relationship Id="rId64" Type="http://schemas.openxmlformats.org/officeDocument/2006/relationships/slide" Target="slides/slide54.xml"/><Relationship Id="rId69" Type="http://schemas.openxmlformats.org/officeDocument/2006/relationships/slide" Target="slides/slide59.xml"/><Relationship Id="rId77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1.xml"/><Relationship Id="rId72" Type="http://schemas.openxmlformats.org/officeDocument/2006/relationships/slide" Target="slides/slide62.xml"/><Relationship Id="rId80" Type="http://schemas.openxmlformats.org/officeDocument/2006/relationships/font" Target="fonts/font3.fntdata"/><Relationship Id="rId85" Type="http://schemas.openxmlformats.org/officeDocument/2006/relationships/font" Target="fonts/font8.fntdata"/><Relationship Id="rId9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59" Type="http://schemas.openxmlformats.org/officeDocument/2006/relationships/slide" Target="slides/slide49.xml"/><Relationship Id="rId67" Type="http://schemas.openxmlformats.org/officeDocument/2006/relationships/slide" Target="slides/slide57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54" Type="http://schemas.openxmlformats.org/officeDocument/2006/relationships/slide" Target="slides/slide44.xml"/><Relationship Id="rId62" Type="http://schemas.openxmlformats.org/officeDocument/2006/relationships/slide" Target="slides/slide52.xml"/><Relationship Id="rId70" Type="http://schemas.openxmlformats.org/officeDocument/2006/relationships/slide" Target="slides/slide60.xml"/><Relationship Id="rId75" Type="http://schemas.openxmlformats.org/officeDocument/2006/relationships/slide" Target="slides/slide65.xml"/><Relationship Id="rId83" Type="http://schemas.openxmlformats.org/officeDocument/2006/relationships/font" Target="fonts/font6.fntdata"/><Relationship Id="rId88" Type="http://schemas.openxmlformats.org/officeDocument/2006/relationships/tags" Target="tags/tag1.xml"/><Relationship Id="rId9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Relationship Id="rId57" Type="http://schemas.openxmlformats.org/officeDocument/2006/relationships/slide" Target="slides/slide47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slide" Target="slides/slide42.xml"/><Relationship Id="rId60" Type="http://schemas.openxmlformats.org/officeDocument/2006/relationships/slide" Target="slides/slide50.xml"/><Relationship Id="rId65" Type="http://schemas.openxmlformats.org/officeDocument/2006/relationships/slide" Target="slides/slide55.xml"/><Relationship Id="rId73" Type="http://schemas.openxmlformats.org/officeDocument/2006/relationships/slide" Target="slides/slide63.xml"/><Relationship Id="rId78" Type="http://schemas.openxmlformats.org/officeDocument/2006/relationships/font" Target="fonts/font1.fntdata"/><Relationship Id="rId81" Type="http://schemas.openxmlformats.org/officeDocument/2006/relationships/font" Target="fonts/font4.fntdata"/><Relationship Id="rId86" Type="http://schemas.openxmlformats.org/officeDocument/2006/relationships/font" Target="fonts/font9.fntdata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2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3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4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5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6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7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8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9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0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1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2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3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4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5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6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7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8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9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0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1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2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3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4.xlsx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5.xlsx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6.xlsx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7.xlsx"/><Relationship Id="rId2" Type="http://schemas.microsoft.com/office/2011/relationships/chartColorStyle" Target="colors46.xml"/><Relationship Id="rId1" Type="http://schemas.microsoft.com/office/2011/relationships/chartStyle" Target="style46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8.xlsx"/><Relationship Id="rId2" Type="http://schemas.microsoft.com/office/2011/relationships/chartColorStyle" Target="colors47.xml"/><Relationship Id="rId1" Type="http://schemas.microsoft.com/office/2011/relationships/chartStyle" Target="style47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List_aplikace_Microsoft_Excel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5682402275193011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-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19.06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849.55930000000001</c:v>
                </c:pt>
                <c:pt idx="1">
                  <c:v>901.3261</c:v>
                </c:pt>
                <c:pt idx="2">
                  <c:v>818.14710000000002</c:v>
                </c:pt>
                <c:pt idx="3">
                  <c:v>692.82844990000001</c:v>
                </c:pt>
                <c:pt idx="4">
                  <c:v>535.4924671</c:v>
                </c:pt>
                <c:pt idx="5">
                  <c:v>397.19080000000002</c:v>
                </c:pt>
                <c:pt idx="6">
                  <c:v>305.31979999999999</c:v>
                </c:pt>
                <c:pt idx="7">
                  <c:v>219.77529999999999</c:v>
                </c:pt>
                <c:pt idx="8">
                  <c:v>183.02690000000001</c:v>
                </c:pt>
                <c:pt idx="9">
                  <c:v>150.7895</c:v>
                </c:pt>
                <c:pt idx="10">
                  <c:v>111.4555</c:v>
                </c:pt>
                <c:pt idx="11">
                  <c:v>82.518870000000007</c:v>
                </c:pt>
                <c:pt idx="12">
                  <c:v>52.15193</c:v>
                </c:pt>
                <c:pt idx="13">
                  <c:v>33.887749999999997</c:v>
                </c:pt>
                <c:pt idx="14">
                  <c:v>27.176220000000001</c:v>
                </c:pt>
                <c:pt idx="15">
                  <c:v>17.43899</c:v>
                </c:pt>
                <c:pt idx="16">
                  <c:v>14.57832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-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19.06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930.28790000000004</c:v>
                </c:pt>
                <c:pt idx="1">
                  <c:v>965.91160000000002</c:v>
                </c:pt>
                <c:pt idx="2">
                  <c:v>865.60389999999995</c:v>
                </c:pt>
                <c:pt idx="3">
                  <c:v>712.86884439999994</c:v>
                </c:pt>
                <c:pt idx="4">
                  <c:v>522.137879</c:v>
                </c:pt>
                <c:pt idx="5">
                  <c:v>382.56900000000002</c:v>
                </c:pt>
                <c:pt idx="6">
                  <c:v>294.00400000000002</c:v>
                </c:pt>
                <c:pt idx="7">
                  <c:v>222.7567</c:v>
                </c:pt>
                <c:pt idx="8">
                  <c:v>184.76070000000001</c:v>
                </c:pt>
                <c:pt idx="9">
                  <c:v>156.8074</c:v>
                </c:pt>
                <c:pt idx="10">
                  <c:v>114.1855</c:v>
                </c:pt>
                <c:pt idx="11">
                  <c:v>86.074070000000006</c:v>
                </c:pt>
                <c:pt idx="12">
                  <c:v>52.822670000000002</c:v>
                </c:pt>
                <c:pt idx="13">
                  <c:v>35.50506</c:v>
                </c:pt>
                <c:pt idx="14">
                  <c:v>24.829820000000002</c:v>
                </c:pt>
                <c:pt idx="15">
                  <c:v>15.02441</c:v>
                </c:pt>
                <c:pt idx="16">
                  <c:v>8.223888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-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19.06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875.45519999999999</c:v>
                </c:pt>
                <c:pt idx="1">
                  <c:v>920.16189999999995</c:v>
                </c:pt>
                <c:pt idx="2">
                  <c:v>873.13930000000005</c:v>
                </c:pt>
                <c:pt idx="3">
                  <c:v>741.53657009999995</c:v>
                </c:pt>
                <c:pt idx="4">
                  <c:v>559.99126000000001</c:v>
                </c:pt>
                <c:pt idx="5">
                  <c:v>405.58210000000003</c:v>
                </c:pt>
                <c:pt idx="6">
                  <c:v>320.54880000000003</c:v>
                </c:pt>
                <c:pt idx="7">
                  <c:v>221.62020000000001</c:v>
                </c:pt>
                <c:pt idx="8">
                  <c:v>184.3646</c:v>
                </c:pt>
                <c:pt idx="9">
                  <c:v>152.99950000000001</c:v>
                </c:pt>
                <c:pt idx="10">
                  <c:v>113.22669999999999</c:v>
                </c:pt>
                <c:pt idx="11">
                  <c:v>76.273200000000003</c:v>
                </c:pt>
                <c:pt idx="12">
                  <c:v>47.274279999999997</c:v>
                </c:pt>
                <c:pt idx="13">
                  <c:v>25.474740000000001</c:v>
                </c:pt>
                <c:pt idx="14">
                  <c:v>15.909129999999999</c:v>
                </c:pt>
                <c:pt idx="15">
                  <c:v>10.2201</c:v>
                </c:pt>
                <c:pt idx="16">
                  <c:v>6.142132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-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19.06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524.89380000000006</c:v>
                </c:pt>
                <c:pt idx="1">
                  <c:v>579.625</c:v>
                </c:pt>
                <c:pt idx="2">
                  <c:v>526.67179999999996</c:v>
                </c:pt>
                <c:pt idx="3">
                  <c:v>468.46192200000002</c:v>
                </c:pt>
                <c:pt idx="4">
                  <c:v>367.19375070000001</c:v>
                </c:pt>
                <c:pt idx="5">
                  <c:v>283.3963</c:v>
                </c:pt>
                <c:pt idx="6">
                  <c:v>208.87530000000001</c:v>
                </c:pt>
                <c:pt idx="7">
                  <c:v>156.61779999999999</c:v>
                </c:pt>
                <c:pt idx="8">
                  <c:v>120.3622</c:v>
                </c:pt>
                <c:pt idx="9">
                  <c:v>99.64479</c:v>
                </c:pt>
                <c:pt idx="10">
                  <c:v>74.752920000000003</c:v>
                </c:pt>
                <c:pt idx="11">
                  <c:v>48.083060000000003</c:v>
                </c:pt>
                <c:pt idx="12">
                  <c:v>25.664909999999999</c:v>
                </c:pt>
                <c:pt idx="13">
                  <c:v>15.924609999999999</c:v>
                </c:pt>
                <c:pt idx="14">
                  <c:v>9.740297</c:v>
                </c:pt>
                <c:pt idx="15">
                  <c:v>4.7928449999999998</c:v>
                </c:pt>
                <c:pt idx="16">
                  <c:v>3.169461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19.06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532.65369999999996</c:v>
                </c:pt>
                <c:pt idx="1">
                  <c:v>557.17010000000005</c:v>
                </c:pt>
                <c:pt idx="2">
                  <c:v>491.02199999999999</c:v>
                </c:pt>
                <c:pt idx="3">
                  <c:v>439.44505029999999</c:v>
                </c:pt>
                <c:pt idx="4">
                  <c:v>340.8012008</c:v>
                </c:pt>
                <c:pt idx="5">
                  <c:v>252.1027</c:v>
                </c:pt>
                <c:pt idx="6">
                  <c:v>181.79150000000001</c:v>
                </c:pt>
                <c:pt idx="7">
                  <c:v>144.66990000000001</c:v>
                </c:pt>
                <c:pt idx="8">
                  <c:v>98.181280000000001</c:v>
                </c:pt>
                <c:pt idx="9">
                  <c:v>80.140900000000002</c:v>
                </c:pt>
                <c:pt idx="10">
                  <c:v>54.5837</c:v>
                </c:pt>
                <c:pt idx="11">
                  <c:v>37.237189999999998</c:v>
                </c:pt>
                <c:pt idx="12">
                  <c:v>28.216999999999999</c:v>
                </c:pt>
                <c:pt idx="13">
                  <c:v>16.883939999999999</c:v>
                </c:pt>
                <c:pt idx="14">
                  <c:v>10.52355</c:v>
                </c:pt>
                <c:pt idx="15">
                  <c:v>5.5508850000000001</c:v>
                </c:pt>
                <c:pt idx="16">
                  <c:v>6.7073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19.06</c:v>
                </c:pt>
              </c:strCache>
            </c:strRef>
          </c:cat>
          <c:val>
            <c:numRef>
              <c:f>List1!$B$7:$R$7</c:f>
              <c:numCache>
                <c:formatCode>General</c:formatCode>
                <c:ptCount val="17"/>
                <c:pt idx="0">
                  <c:v>769.04049999999995</c:v>
                </c:pt>
                <c:pt idx="1">
                  <c:v>802.51160000000004</c:v>
                </c:pt>
                <c:pt idx="2">
                  <c:v>726.85130000000004</c:v>
                </c:pt>
                <c:pt idx="3">
                  <c:v>615.37443729999995</c:v>
                </c:pt>
                <c:pt idx="4">
                  <c:v>467.74474930000002</c:v>
                </c:pt>
                <c:pt idx="5">
                  <c:v>344.03629999999998</c:v>
                </c:pt>
                <c:pt idx="6">
                  <c:v>264.31119999999999</c:v>
                </c:pt>
                <c:pt idx="7">
                  <c:v>202.24680000000001</c:v>
                </c:pt>
                <c:pt idx="8">
                  <c:v>163.30930000000001</c:v>
                </c:pt>
                <c:pt idx="9">
                  <c:v>137.3417</c:v>
                </c:pt>
                <c:pt idx="10">
                  <c:v>102.31950000000001</c:v>
                </c:pt>
                <c:pt idx="11">
                  <c:v>72.436570000000003</c:v>
                </c:pt>
                <c:pt idx="12">
                  <c:v>47.132359999999998</c:v>
                </c:pt>
                <c:pt idx="13">
                  <c:v>30.555669999999999</c:v>
                </c:pt>
                <c:pt idx="14">
                  <c:v>21.902899999999999</c:v>
                </c:pt>
                <c:pt idx="15">
                  <c:v>13.69866</c:v>
                </c:pt>
                <c:pt idx="16">
                  <c:v>8.6527689999999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8E-4319-A6B1-3BB003D0597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Hlavní město Praha</c:v>
                </c:pt>
                <c:pt idx="3">
                  <c:v>Plzeňský kraj</c:v>
                </c:pt>
                <c:pt idx="4">
                  <c:v>Zlínský kraj</c:v>
                </c:pt>
                <c:pt idx="5">
                  <c:v>Kraj Vysočina</c:v>
                </c:pt>
                <c:pt idx="6">
                  <c:v>ČR</c:v>
                </c:pt>
                <c:pt idx="7">
                  <c:v>Olomoucký kraj</c:v>
                </c:pt>
                <c:pt idx="8">
                  <c:v>Středočeský kraj</c:v>
                </c:pt>
                <c:pt idx="9">
                  <c:v>Moravskoslezský kraj</c:v>
                </c:pt>
                <c:pt idx="10">
                  <c:v>Ústecký kraj</c:v>
                </c:pt>
                <c:pt idx="11">
                  <c:v>Jihomorav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6.3280269999999996</c:v>
                </c:pt>
                <c:pt idx="1">
                  <c:v>6.0601260000000003</c:v>
                </c:pt>
                <c:pt idx="2">
                  <c:v>4.9435089999999997</c:v>
                </c:pt>
                <c:pt idx="3">
                  <c:v>4.060632</c:v>
                </c:pt>
                <c:pt idx="4">
                  <c:v>3.9647039999999998</c:v>
                </c:pt>
                <c:pt idx="5">
                  <c:v>3.5373739999999998</c:v>
                </c:pt>
                <c:pt idx="6">
                  <c:v>3.4013040000000001</c:v>
                </c:pt>
                <c:pt idx="7">
                  <c:v>3.1719750000000002</c:v>
                </c:pt>
                <c:pt idx="8">
                  <c:v>2.9327670000000001</c:v>
                </c:pt>
                <c:pt idx="9">
                  <c:v>2.766521</c:v>
                </c:pt>
                <c:pt idx="10">
                  <c:v>2.6927650000000001</c:v>
                </c:pt>
                <c:pt idx="11">
                  <c:v>2.5934330000000001</c:v>
                </c:pt>
                <c:pt idx="12">
                  <c:v>1.7213149999999999</c:v>
                </c:pt>
                <c:pt idx="13">
                  <c:v>1.270872</c:v>
                </c:pt>
                <c:pt idx="14">
                  <c:v>1.0228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E-4319-A6B1-3BB003D0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D8B0-4D33-B12C-8C4CD8438033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Klatovy</c:v>
                </c:pt>
                <c:pt idx="2">
                  <c:v>Příbram</c:v>
                </c:pt>
                <c:pt idx="3">
                  <c:v>Nymburk</c:v>
                </c:pt>
                <c:pt idx="4">
                  <c:v>Liberec</c:v>
                </c:pt>
                <c:pt idx="5">
                  <c:v>České Budějovice</c:v>
                </c:pt>
                <c:pt idx="6">
                  <c:v>Žďár nad Sázavou</c:v>
                </c:pt>
                <c:pt idx="7">
                  <c:v>Praha</c:v>
                </c:pt>
                <c:pt idx="8">
                  <c:v>Havlíčkův Brod</c:v>
                </c:pt>
                <c:pt idx="9">
                  <c:v>Mělník</c:v>
                </c:pt>
                <c:pt idx="10">
                  <c:v>Zlín</c:v>
                </c:pt>
                <c:pt idx="11">
                  <c:v>Opava</c:v>
                </c:pt>
                <c:pt idx="12">
                  <c:v>Šumperk</c:v>
                </c:pt>
                <c:pt idx="13">
                  <c:v>Praha-východ</c:v>
                </c:pt>
                <c:pt idx="14">
                  <c:v>Tachov</c:v>
                </c:pt>
                <c:pt idx="15">
                  <c:v>Ostrava-město</c:v>
                </c:pt>
                <c:pt idx="16">
                  <c:v>Jablonec nad Nisou</c:v>
                </c:pt>
                <c:pt idx="17">
                  <c:v>Domažlice</c:v>
                </c:pt>
                <c:pt idx="18">
                  <c:v>Kladno</c:v>
                </c:pt>
                <c:pt idx="19">
                  <c:v>Strakonice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44.031309999999998</c:v>
                </c:pt>
                <c:pt idx="1">
                  <c:v>20.868839999999999</c:v>
                </c:pt>
                <c:pt idx="2">
                  <c:v>20.826820000000001</c:v>
                </c:pt>
                <c:pt idx="3">
                  <c:v>19.696870000000001</c:v>
                </c:pt>
                <c:pt idx="4">
                  <c:v>19.377079999999999</c:v>
                </c:pt>
                <c:pt idx="5">
                  <c:v>18.311109999999999</c:v>
                </c:pt>
                <c:pt idx="6">
                  <c:v>16.109749999999998</c:v>
                </c:pt>
                <c:pt idx="7">
                  <c:v>15.354839999999999</c:v>
                </c:pt>
                <c:pt idx="8">
                  <c:v>14.797280000000001</c:v>
                </c:pt>
                <c:pt idx="9">
                  <c:v>14.547169999999999</c:v>
                </c:pt>
                <c:pt idx="10">
                  <c:v>13.558120000000001</c:v>
                </c:pt>
                <c:pt idx="11">
                  <c:v>12.51586</c:v>
                </c:pt>
                <c:pt idx="12">
                  <c:v>12.503439999999999</c:v>
                </c:pt>
                <c:pt idx="13">
                  <c:v>11.114699999999999</c:v>
                </c:pt>
                <c:pt idx="14">
                  <c:v>11.031639999999999</c:v>
                </c:pt>
                <c:pt idx="15">
                  <c:v>11.029809999999999</c:v>
                </c:pt>
                <c:pt idx="16">
                  <c:v>10.92502</c:v>
                </c:pt>
                <c:pt idx="17">
                  <c:v>10.85619</c:v>
                </c:pt>
                <c:pt idx="18">
                  <c:v>10.1891</c:v>
                </c:pt>
                <c:pt idx="19">
                  <c:v>9.924573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Klatovy</c:v>
                </c:pt>
                <c:pt idx="2">
                  <c:v>Příbram</c:v>
                </c:pt>
                <c:pt idx="3">
                  <c:v>Nymburk</c:v>
                </c:pt>
                <c:pt idx="4">
                  <c:v>Liberec</c:v>
                </c:pt>
                <c:pt idx="5">
                  <c:v>České Budějovice</c:v>
                </c:pt>
                <c:pt idx="6">
                  <c:v>Žďár nad Sázavou</c:v>
                </c:pt>
                <c:pt idx="7">
                  <c:v>Praha</c:v>
                </c:pt>
                <c:pt idx="8">
                  <c:v>Havlíčkův Brod</c:v>
                </c:pt>
                <c:pt idx="9">
                  <c:v>Mělník</c:v>
                </c:pt>
                <c:pt idx="10">
                  <c:v>Zlín</c:v>
                </c:pt>
                <c:pt idx="11">
                  <c:v>Opava</c:v>
                </c:pt>
                <c:pt idx="12">
                  <c:v>Šumperk</c:v>
                </c:pt>
                <c:pt idx="13">
                  <c:v>Praha-východ</c:v>
                </c:pt>
                <c:pt idx="14">
                  <c:v>Tachov</c:v>
                </c:pt>
                <c:pt idx="15">
                  <c:v>Ostrava-město</c:v>
                </c:pt>
                <c:pt idx="16">
                  <c:v>Jablonec nad Nisou</c:v>
                </c:pt>
                <c:pt idx="17">
                  <c:v>Domažlice</c:v>
                </c:pt>
                <c:pt idx="18">
                  <c:v>Kladno</c:v>
                </c:pt>
                <c:pt idx="19">
                  <c:v>Strakonice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415.85129999999998</c:v>
                </c:pt>
                <c:pt idx="1">
                  <c:v>195.93520000000001</c:v>
                </c:pt>
                <c:pt idx="2">
                  <c:v>216.9461</c:v>
                </c:pt>
                <c:pt idx="3">
                  <c:v>199.92320000000001</c:v>
                </c:pt>
                <c:pt idx="4">
                  <c:v>255.32159999999999</c:v>
                </c:pt>
                <c:pt idx="5">
                  <c:v>437.94060000000002</c:v>
                </c:pt>
                <c:pt idx="6">
                  <c:v>527.38229999999999</c:v>
                </c:pt>
                <c:pt idx="7">
                  <c:v>204.18190000000001</c:v>
                </c:pt>
                <c:pt idx="8">
                  <c:v>233.5856</c:v>
                </c:pt>
                <c:pt idx="9">
                  <c:v>243.6652</c:v>
                </c:pt>
                <c:pt idx="10">
                  <c:v>410.39389999999997</c:v>
                </c:pt>
                <c:pt idx="11">
                  <c:v>248.6105</c:v>
                </c:pt>
                <c:pt idx="12">
                  <c:v>376.77030000000002</c:v>
                </c:pt>
                <c:pt idx="13">
                  <c:v>192.12549999999999</c:v>
                </c:pt>
                <c:pt idx="14">
                  <c:v>141.5727</c:v>
                </c:pt>
                <c:pt idx="15">
                  <c:v>312.61619999999999</c:v>
                </c:pt>
                <c:pt idx="16">
                  <c:v>220.68539999999999</c:v>
                </c:pt>
                <c:pt idx="17">
                  <c:v>195.41139999999999</c:v>
                </c:pt>
                <c:pt idx="18">
                  <c:v>229.55439999999999</c:v>
                </c:pt>
                <c:pt idx="19">
                  <c:v>167.2999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52-401F-B1E0-512B723D069B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Klatovy</c:v>
                </c:pt>
                <c:pt idx="2">
                  <c:v>Příbram</c:v>
                </c:pt>
                <c:pt idx="3">
                  <c:v>Nymburk</c:v>
                </c:pt>
                <c:pt idx="4">
                  <c:v>Liberec</c:v>
                </c:pt>
                <c:pt idx="5">
                  <c:v>České Budějovice</c:v>
                </c:pt>
                <c:pt idx="6">
                  <c:v>Žďár nad Sázavou</c:v>
                </c:pt>
                <c:pt idx="7">
                  <c:v>Praha</c:v>
                </c:pt>
                <c:pt idx="8">
                  <c:v>Havlíčkův Brod</c:v>
                </c:pt>
                <c:pt idx="9">
                  <c:v>Mělník</c:v>
                </c:pt>
                <c:pt idx="10">
                  <c:v>Zlín</c:v>
                </c:pt>
                <c:pt idx="11">
                  <c:v>Opava</c:v>
                </c:pt>
                <c:pt idx="12">
                  <c:v>Šumperk</c:v>
                </c:pt>
                <c:pt idx="13">
                  <c:v>Praha-východ</c:v>
                </c:pt>
                <c:pt idx="14">
                  <c:v>Tachov</c:v>
                </c:pt>
                <c:pt idx="15">
                  <c:v>Ostrava-město</c:v>
                </c:pt>
                <c:pt idx="16">
                  <c:v>Jablonec nad Nisou</c:v>
                </c:pt>
                <c:pt idx="17">
                  <c:v>Domažlice</c:v>
                </c:pt>
                <c:pt idx="18">
                  <c:v>Kladno</c:v>
                </c:pt>
                <c:pt idx="19">
                  <c:v>Strakonice</c:v>
                </c:pt>
              </c:strCache>
            </c:strRef>
          </c:cat>
          <c:val>
            <c:numRef>
              <c:f>Sheet1!$C$2:$C$21</c:f>
              <c:numCache>
                <c:formatCode>General</c:formatCode>
                <c:ptCount val="20"/>
                <c:pt idx="0">
                  <c:v>159.81739999999999</c:v>
                </c:pt>
                <c:pt idx="1">
                  <c:v>91.59102</c:v>
                </c:pt>
                <c:pt idx="2">
                  <c:v>70.290530000000004</c:v>
                </c:pt>
                <c:pt idx="3">
                  <c:v>53.181539999999998</c:v>
                </c:pt>
                <c:pt idx="4">
                  <c:v>98.595160000000007</c:v>
                </c:pt>
                <c:pt idx="5">
                  <c:v>179.5506</c:v>
                </c:pt>
                <c:pt idx="6">
                  <c:v>153.4666</c:v>
                </c:pt>
                <c:pt idx="7">
                  <c:v>84.264359999999996</c:v>
                </c:pt>
                <c:pt idx="8">
                  <c:v>118.37820000000001</c:v>
                </c:pt>
                <c:pt idx="9">
                  <c:v>116.37739999999999</c:v>
                </c:pt>
                <c:pt idx="10">
                  <c:v>170.51939999999999</c:v>
                </c:pt>
                <c:pt idx="11">
                  <c:v>161.5684</c:v>
                </c:pt>
                <c:pt idx="12">
                  <c:v>110.8638</c:v>
                </c:pt>
                <c:pt idx="13">
                  <c:v>62.983289999999997</c:v>
                </c:pt>
                <c:pt idx="14">
                  <c:v>55.158209999999997</c:v>
                </c:pt>
                <c:pt idx="15">
                  <c:v>153.47190000000001</c:v>
                </c:pt>
                <c:pt idx="16">
                  <c:v>72.105140000000006</c:v>
                </c:pt>
                <c:pt idx="17">
                  <c:v>25.331109999999999</c:v>
                </c:pt>
                <c:pt idx="18">
                  <c:v>80.314059999999998</c:v>
                </c:pt>
                <c:pt idx="19">
                  <c:v>124.7660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52-401F-B1E0-512B723D069B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29.5.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Klatovy</c:v>
                </c:pt>
                <c:pt idx="2">
                  <c:v>Příbram</c:v>
                </c:pt>
                <c:pt idx="3">
                  <c:v>Nymburk</c:v>
                </c:pt>
                <c:pt idx="4">
                  <c:v>Liberec</c:v>
                </c:pt>
                <c:pt idx="5">
                  <c:v>České Budějovice</c:v>
                </c:pt>
                <c:pt idx="6">
                  <c:v>Žďár nad Sázavou</c:v>
                </c:pt>
                <c:pt idx="7">
                  <c:v>Praha</c:v>
                </c:pt>
                <c:pt idx="8">
                  <c:v>Havlíčkův Brod</c:v>
                </c:pt>
                <c:pt idx="9">
                  <c:v>Mělník</c:v>
                </c:pt>
                <c:pt idx="10">
                  <c:v>Zlín</c:v>
                </c:pt>
                <c:pt idx="11">
                  <c:v>Opava</c:v>
                </c:pt>
                <c:pt idx="12">
                  <c:v>Šumperk</c:v>
                </c:pt>
                <c:pt idx="13">
                  <c:v>Praha-východ</c:v>
                </c:pt>
                <c:pt idx="14">
                  <c:v>Tachov</c:v>
                </c:pt>
                <c:pt idx="15">
                  <c:v>Ostrava-město</c:v>
                </c:pt>
                <c:pt idx="16">
                  <c:v>Jablonec nad Nisou</c:v>
                </c:pt>
                <c:pt idx="17">
                  <c:v>Domažlice</c:v>
                </c:pt>
                <c:pt idx="18">
                  <c:v>Kladno</c:v>
                </c:pt>
                <c:pt idx="19">
                  <c:v>Strakonice</c:v>
                </c:pt>
              </c:strCache>
            </c:strRef>
          </c:cat>
          <c:val>
            <c:numRef>
              <c:f>Sheet1!$D$2:$D$21</c:f>
              <c:numCache>
                <c:formatCode>General</c:formatCode>
                <c:ptCount val="20"/>
                <c:pt idx="0">
                  <c:v>86.431830000000005</c:v>
                </c:pt>
                <c:pt idx="1">
                  <c:v>30.143879999999999</c:v>
                </c:pt>
                <c:pt idx="2">
                  <c:v>14.752330000000001</c:v>
                </c:pt>
                <c:pt idx="3">
                  <c:v>25.605920000000001</c:v>
                </c:pt>
                <c:pt idx="4">
                  <c:v>39.893999999999998</c:v>
                </c:pt>
                <c:pt idx="5">
                  <c:v>69.683930000000004</c:v>
                </c:pt>
                <c:pt idx="6">
                  <c:v>32.219499999999996</c:v>
                </c:pt>
                <c:pt idx="7">
                  <c:v>26.964600000000001</c:v>
                </c:pt>
                <c:pt idx="8">
                  <c:v>44.391829999999999</c:v>
                </c:pt>
                <c:pt idx="9">
                  <c:v>12.72878</c:v>
                </c:pt>
                <c:pt idx="10">
                  <c:v>52.146619999999999</c:v>
                </c:pt>
                <c:pt idx="11">
                  <c:v>52.90795</c:v>
                </c:pt>
                <c:pt idx="12">
                  <c:v>90.024760000000001</c:v>
                </c:pt>
                <c:pt idx="13">
                  <c:v>19.58304</c:v>
                </c:pt>
                <c:pt idx="14">
                  <c:v>16.547460000000001</c:v>
                </c:pt>
                <c:pt idx="15">
                  <c:v>46.640320000000003</c:v>
                </c:pt>
                <c:pt idx="16">
                  <c:v>33.867570000000001</c:v>
                </c:pt>
                <c:pt idx="17">
                  <c:v>16.284289999999999</c:v>
                </c:pt>
                <c:pt idx="18">
                  <c:v>16.782039999999999</c:v>
                </c:pt>
                <c:pt idx="19">
                  <c:v>15.595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52-401F-B1E0-512B723D069B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Klatovy</c:v>
                </c:pt>
                <c:pt idx="2">
                  <c:v>Příbram</c:v>
                </c:pt>
                <c:pt idx="3">
                  <c:v>Nymburk</c:v>
                </c:pt>
                <c:pt idx="4">
                  <c:v>Liberec</c:v>
                </c:pt>
                <c:pt idx="5">
                  <c:v>České Budějovice</c:v>
                </c:pt>
                <c:pt idx="6">
                  <c:v>Žďár nad Sázavou</c:v>
                </c:pt>
                <c:pt idx="7">
                  <c:v>Praha</c:v>
                </c:pt>
                <c:pt idx="8">
                  <c:v>Havlíčkův Brod</c:v>
                </c:pt>
                <c:pt idx="9">
                  <c:v>Mělník</c:v>
                </c:pt>
                <c:pt idx="10">
                  <c:v>Zlín</c:v>
                </c:pt>
                <c:pt idx="11">
                  <c:v>Opava</c:v>
                </c:pt>
                <c:pt idx="12">
                  <c:v>Šumperk</c:v>
                </c:pt>
                <c:pt idx="13">
                  <c:v>Praha-východ</c:v>
                </c:pt>
                <c:pt idx="14">
                  <c:v>Tachov</c:v>
                </c:pt>
                <c:pt idx="15">
                  <c:v>Ostrava-město</c:v>
                </c:pt>
                <c:pt idx="16">
                  <c:v>Jablonec nad Nisou</c:v>
                </c:pt>
                <c:pt idx="17">
                  <c:v>Domažlice</c:v>
                </c:pt>
                <c:pt idx="18">
                  <c:v>Kladno</c:v>
                </c:pt>
                <c:pt idx="19">
                  <c:v>Strakonice</c:v>
                </c:pt>
              </c:strCache>
            </c:strRef>
          </c:cat>
          <c:val>
            <c:numRef>
              <c:f>Sheet1!$E$2:$E$21</c:f>
              <c:numCache>
                <c:formatCode>General</c:formatCode>
                <c:ptCount val="20"/>
                <c:pt idx="0">
                  <c:v>44.031309999999998</c:v>
                </c:pt>
                <c:pt idx="1">
                  <c:v>20.868839999999999</c:v>
                </c:pt>
                <c:pt idx="2">
                  <c:v>20.826820000000001</c:v>
                </c:pt>
                <c:pt idx="3">
                  <c:v>19.696870000000001</c:v>
                </c:pt>
                <c:pt idx="4">
                  <c:v>19.377079999999999</c:v>
                </c:pt>
                <c:pt idx="5">
                  <c:v>18.311109999999999</c:v>
                </c:pt>
                <c:pt idx="6">
                  <c:v>16.109749999999998</c:v>
                </c:pt>
                <c:pt idx="7">
                  <c:v>15.354839999999999</c:v>
                </c:pt>
                <c:pt idx="8">
                  <c:v>14.797280000000001</c:v>
                </c:pt>
                <c:pt idx="9">
                  <c:v>14.547169999999999</c:v>
                </c:pt>
                <c:pt idx="10">
                  <c:v>13.558120000000001</c:v>
                </c:pt>
                <c:pt idx="11">
                  <c:v>12.51586</c:v>
                </c:pt>
                <c:pt idx="12">
                  <c:v>12.503439999999999</c:v>
                </c:pt>
                <c:pt idx="13">
                  <c:v>11.114699999999999</c:v>
                </c:pt>
                <c:pt idx="14">
                  <c:v>11.031639999999999</c:v>
                </c:pt>
                <c:pt idx="15">
                  <c:v>11.029809999999999</c:v>
                </c:pt>
                <c:pt idx="16">
                  <c:v>10.92502</c:v>
                </c:pt>
                <c:pt idx="17">
                  <c:v>10.85619</c:v>
                </c:pt>
                <c:pt idx="18">
                  <c:v>10.1891</c:v>
                </c:pt>
                <c:pt idx="19">
                  <c:v>9.924573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31-4125-A549-285CF38DF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935-4A4A-9BB8-7E2A9E5151F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1935-4A4A-9BB8-7E2A9E5151F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935-4A4A-9BB8-7E2A9E5151F3}"/>
              </c:ext>
            </c:extLst>
          </c:dPt>
          <c:dPt>
            <c:idx val="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C0B3-4B87-942D-9FDA71F63FF9}"/>
              </c:ext>
            </c:extLst>
          </c:dPt>
          <c:dPt>
            <c:idx val="7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935-4A4A-9BB8-7E2A9E5151F3}"/>
              </c:ext>
            </c:extLst>
          </c:dPt>
          <c:dPt>
            <c:idx val="9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935-4A4A-9BB8-7E2A9E5151F3}"/>
              </c:ext>
            </c:extLst>
          </c:dPt>
          <c:dPt>
            <c:idx val="1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A545-4677-8F50-71D5E322DF7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1935-4A4A-9BB8-7E2A9E5151F3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C0B3-4B87-942D-9FDA71F63FF9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B4E5-4676-B84B-9F746B76A0F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A545-4677-8F50-71D5E322DF71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Klatovy</c:v>
                </c:pt>
                <c:pt idx="2">
                  <c:v>Příbram</c:v>
                </c:pt>
                <c:pt idx="3">
                  <c:v>Nymburk</c:v>
                </c:pt>
                <c:pt idx="4">
                  <c:v>Liberec</c:v>
                </c:pt>
                <c:pt idx="5">
                  <c:v>České Budějovice</c:v>
                </c:pt>
                <c:pt idx="6">
                  <c:v>Žďár nad Sázavou</c:v>
                </c:pt>
                <c:pt idx="7">
                  <c:v>Praha</c:v>
                </c:pt>
                <c:pt idx="8">
                  <c:v>Havlíčkův Brod</c:v>
                </c:pt>
                <c:pt idx="9">
                  <c:v>Mělník</c:v>
                </c:pt>
                <c:pt idx="10">
                  <c:v>Zlín</c:v>
                </c:pt>
                <c:pt idx="11">
                  <c:v>Opava</c:v>
                </c:pt>
                <c:pt idx="12">
                  <c:v>Šumperk</c:v>
                </c:pt>
                <c:pt idx="13">
                  <c:v>Praha-východ</c:v>
                </c:pt>
                <c:pt idx="14">
                  <c:v>Tachov</c:v>
                </c:pt>
                <c:pt idx="15">
                  <c:v>Ostrava-město</c:v>
                </c:pt>
                <c:pt idx="16">
                  <c:v>Jablonec nad Nisou</c:v>
                </c:pt>
                <c:pt idx="17">
                  <c:v>Domažlice</c:v>
                </c:pt>
                <c:pt idx="18">
                  <c:v>Kladno</c:v>
                </c:pt>
                <c:pt idx="19">
                  <c:v>Strakonice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44.031311150000001</c:v>
                </c:pt>
                <c:pt idx="1">
                  <c:v>20.868839340000001</c:v>
                </c:pt>
                <c:pt idx="2">
                  <c:v>20.826824949999999</c:v>
                </c:pt>
                <c:pt idx="3">
                  <c:v>19.696865240000001</c:v>
                </c:pt>
                <c:pt idx="4">
                  <c:v>19.377083750000001</c:v>
                </c:pt>
                <c:pt idx="5">
                  <c:v>18.311105690000002</c:v>
                </c:pt>
                <c:pt idx="6">
                  <c:v>16.109749789999999</c:v>
                </c:pt>
                <c:pt idx="7">
                  <c:v>15.3548391</c:v>
                </c:pt>
                <c:pt idx="8">
                  <c:v>14.797277299999999</c:v>
                </c:pt>
                <c:pt idx="9">
                  <c:v>14.54717376</c:v>
                </c:pt>
                <c:pt idx="10">
                  <c:v>13.55812001</c:v>
                </c:pt>
                <c:pt idx="11">
                  <c:v>12.515858160000001</c:v>
                </c:pt>
                <c:pt idx="12">
                  <c:v>12.503438450000001</c:v>
                </c:pt>
                <c:pt idx="13">
                  <c:v>11.114698389999999</c:v>
                </c:pt>
                <c:pt idx="14">
                  <c:v>11.03164243</c:v>
                </c:pt>
                <c:pt idx="15">
                  <c:v>11.02980569</c:v>
                </c:pt>
                <c:pt idx="16">
                  <c:v>10.925021579999999</c:v>
                </c:pt>
                <c:pt idx="17">
                  <c:v>10.85619165</c:v>
                </c:pt>
                <c:pt idx="18">
                  <c:v>10.189097670000001</c:v>
                </c:pt>
                <c:pt idx="19">
                  <c:v>9.924573242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 (zjednodušený výpočet) - 7 denní úsek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05E-4BE4-A359-8EBC5A58012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05E-4BE4-A359-8EBC5A58012C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05E-4BE4-A359-8EBC5A58012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05E-4BE4-A359-8EBC5A58012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05E-4BE4-A359-8EBC5A58012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09C0-46FD-933E-FB36B350A472}"/>
              </c:ext>
            </c:extLst>
          </c:dPt>
          <c:dPt>
            <c:idx val="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344A-4869-9DBA-297DCE47C6DF}"/>
              </c:ext>
            </c:extLst>
          </c:dPt>
          <c:dPt>
            <c:idx val="7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05E-4BE4-A359-8EBC5A5801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E05E-4BE4-A359-8EBC5A58012C}"/>
              </c:ext>
            </c:extLst>
          </c:dPt>
          <c:dPt>
            <c:idx val="9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09C0-46FD-933E-FB36B350A47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E05E-4BE4-A359-8EBC5A5801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E-D8E1-413C-BF07-282421D88A33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09C0-46FD-933E-FB36B350A472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344A-4869-9DBA-297DCE47C6DF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EBF4-45FC-9D6C-BD5C7D208870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D8E1-413C-BF07-282421D88A33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Klatovy</c:v>
                </c:pt>
                <c:pt idx="2">
                  <c:v>Příbram</c:v>
                </c:pt>
                <c:pt idx="3">
                  <c:v>Nymburk</c:v>
                </c:pt>
                <c:pt idx="4">
                  <c:v>Liberec</c:v>
                </c:pt>
                <c:pt idx="5">
                  <c:v>České Budějovice</c:v>
                </c:pt>
                <c:pt idx="6">
                  <c:v>Žďár nad Sázavou</c:v>
                </c:pt>
                <c:pt idx="7">
                  <c:v>Praha</c:v>
                </c:pt>
                <c:pt idx="8">
                  <c:v>Havlíčkův Brod</c:v>
                </c:pt>
                <c:pt idx="9">
                  <c:v>Mělník</c:v>
                </c:pt>
                <c:pt idx="10">
                  <c:v>Zlín</c:v>
                </c:pt>
                <c:pt idx="11">
                  <c:v>Opava</c:v>
                </c:pt>
                <c:pt idx="12">
                  <c:v>Šumperk</c:v>
                </c:pt>
                <c:pt idx="13">
                  <c:v>Praha-východ</c:v>
                </c:pt>
                <c:pt idx="14">
                  <c:v>Tachov</c:v>
                </c:pt>
                <c:pt idx="15">
                  <c:v>Ostrava-město</c:v>
                </c:pt>
                <c:pt idx="16">
                  <c:v>Jablonec nad Nisou</c:v>
                </c:pt>
                <c:pt idx="17">
                  <c:v>Domažlice</c:v>
                </c:pt>
                <c:pt idx="18">
                  <c:v>Kladno</c:v>
                </c:pt>
                <c:pt idx="19">
                  <c:v>Strakonice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0.72972999999999999</c:v>
                </c:pt>
                <c:pt idx="1">
                  <c:v>0.62068999999999996</c:v>
                </c:pt>
                <c:pt idx="2">
                  <c:v>1.6</c:v>
                </c:pt>
                <c:pt idx="3">
                  <c:v>0.90909099999999998</c:v>
                </c:pt>
                <c:pt idx="4">
                  <c:v>0.641509</c:v>
                </c:pt>
                <c:pt idx="5">
                  <c:v>0.39560400000000001</c:v>
                </c:pt>
                <c:pt idx="6">
                  <c:v>1.357143</c:v>
                </c:pt>
                <c:pt idx="7">
                  <c:v>1.138889</c:v>
                </c:pt>
                <c:pt idx="8">
                  <c:v>0.82352899999999996</c:v>
                </c:pt>
                <c:pt idx="9">
                  <c:v>1.066667</c:v>
                </c:pt>
                <c:pt idx="10">
                  <c:v>0.764706</c:v>
                </c:pt>
                <c:pt idx="11">
                  <c:v>0.95652199999999998</c:v>
                </c:pt>
                <c:pt idx="12">
                  <c:v>0.483871</c:v>
                </c:pt>
                <c:pt idx="13">
                  <c:v>1.1666669999999999</c:v>
                </c:pt>
                <c:pt idx="14">
                  <c:v>3</c:v>
                </c:pt>
                <c:pt idx="15">
                  <c:v>0.81395300000000004</c:v>
                </c:pt>
                <c:pt idx="16">
                  <c:v>0.5</c:v>
                </c:pt>
                <c:pt idx="17">
                  <c:v>0.66666700000000001</c:v>
                </c:pt>
                <c:pt idx="18">
                  <c:v>1</c:v>
                </c:pt>
                <c:pt idx="19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E05E-4BE4-A359-8EBC5A5801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.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9D0-47C0-898E-BF6258A712B5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9D0-47C0-898E-BF6258A712B5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9D0-47C0-898E-BF6258A712B5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B817-4605-BE04-B5F94FABE895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A398-4A64-A26B-D513CDB6B18D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398-4A64-A26B-D513CDB6B18D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398-4A64-A26B-D513CDB6B18D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A398-4A64-A26B-D513CDB6B18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Klatovy</c:v>
                </c:pt>
                <c:pt idx="2">
                  <c:v>Příbram</c:v>
                </c:pt>
                <c:pt idx="3">
                  <c:v>Nymburk</c:v>
                </c:pt>
                <c:pt idx="4">
                  <c:v>Liberec</c:v>
                </c:pt>
                <c:pt idx="5">
                  <c:v>České Budějovice</c:v>
                </c:pt>
                <c:pt idx="6">
                  <c:v>Žďár nad Sázavou</c:v>
                </c:pt>
                <c:pt idx="7">
                  <c:v>Praha</c:v>
                </c:pt>
                <c:pt idx="8">
                  <c:v>Havlíčkův Brod</c:v>
                </c:pt>
                <c:pt idx="9">
                  <c:v>Mělník</c:v>
                </c:pt>
                <c:pt idx="10">
                  <c:v>Zlín</c:v>
                </c:pt>
                <c:pt idx="11">
                  <c:v>Opava</c:v>
                </c:pt>
                <c:pt idx="12">
                  <c:v>Šumperk</c:v>
                </c:pt>
                <c:pt idx="13">
                  <c:v>Praha-východ</c:v>
                </c:pt>
                <c:pt idx="14">
                  <c:v>Tachov</c:v>
                </c:pt>
                <c:pt idx="15">
                  <c:v>Ostrava-město</c:v>
                </c:pt>
                <c:pt idx="16">
                  <c:v>Jablonec nad Nisou</c:v>
                </c:pt>
                <c:pt idx="17">
                  <c:v>Domažlice</c:v>
                </c:pt>
                <c:pt idx="18">
                  <c:v>Kladno</c:v>
                </c:pt>
                <c:pt idx="19">
                  <c:v>Strakonice</c:v>
                </c:pt>
              </c:strCache>
            </c:strRef>
          </c:cat>
          <c:val>
            <c:numRef>
              <c:f>Sheet1!$B$2:$B$21</c:f>
              <c:numCache>
                <c:formatCode>_(* #,##0.00_);_(* \(#,##0.00\);_(* "-"??_);_(@_)</c:formatCode>
                <c:ptCount val="20"/>
                <c:pt idx="0">
                  <c:v>3.5343035340000002</c:v>
                </c:pt>
                <c:pt idx="1">
                  <c:v>2.244389027</c:v>
                </c:pt>
                <c:pt idx="2">
                  <c:v>0.948616601</c:v>
                </c:pt>
                <c:pt idx="3">
                  <c:v>1.2391573730000001</c:v>
                </c:pt>
                <c:pt idx="4">
                  <c:v>1.1985409069999999</c:v>
                </c:pt>
                <c:pt idx="5">
                  <c:v>1.774785802</c:v>
                </c:pt>
                <c:pt idx="6">
                  <c:v>0.64220183500000005</c:v>
                </c:pt>
                <c:pt idx="7">
                  <c:v>0.35387431400000002</c:v>
                </c:pt>
                <c:pt idx="8">
                  <c:v>1.129943503</c:v>
                </c:pt>
                <c:pt idx="9">
                  <c:v>1.0212097410000001</c:v>
                </c:pt>
                <c:pt idx="10">
                  <c:v>0.433317285</c:v>
                </c:pt>
                <c:pt idx="11">
                  <c:v>0.63241106700000005</c:v>
                </c:pt>
                <c:pt idx="12">
                  <c:v>1.6150740240000001</c:v>
                </c:pt>
                <c:pt idx="13">
                  <c:v>0.33500837500000002</c:v>
                </c:pt>
                <c:pt idx="14">
                  <c:v>1.052631579</c:v>
                </c:pt>
                <c:pt idx="15">
                  <c:v>0.36679536699999998</c:v>
                </c:pt>
                <c:pt idx="16">
                  <c:v>0.91638029799999998</c:v>
                </c:pt>
                <c:pt idx="17">
                  <c:v>2.8248587569999999</c:v>
                </c:pt>
                <c:pt idx="18">
                  <c:v>0.300842359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9D0-47C0-898E-BF6258A712B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.0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 (zjednodušený výpočet) - 7 denní úsek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073-479C-A53C-670206C9E724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073-479C-A53C-670206C9E724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7073-479C-A53C-670206C9E724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073-479C-A53C-670206C9E724}"/>
              </c:ext>
            </c:extLst>
          </c:dPt>
          <c:dPt>
            <c:idx val="7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7073-479C-A53C-670206C9E724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7073-479C-A53C-670206C9E724}"/>
              </c:ext>
            </c:extLst>
          </c:dPt>
          <c:dPt>
            <c:idx val="9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7073-479C-A53C-670206C9E724}"/>
              </c:ext>
            </c:extLst>
          </c:dPt>
          <c:dPt>
            <c:idx val="1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7073-479C-A53C-670206C9E724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3C08-4FB3-8597-B972CE50FB90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3C08-4FB3-8597-B972CE50FB90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3C08-4FB3-8597-B972CE50FB90}"/>
              </c:ext>
            </c:extLst>
          </c:dPt>
          <c:dPt>
            <c:idx val="1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3C08-4FB3-8597-B972CE50FB90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Strakonice</c:v>
                </c:pt>
                <c:pt idx="1">
                  <c:v>Tachov</c:v>
                </c:pt>
                <c:pt idx="2">
                  <c:v>Bruntál</c:v>
                </c:pt>
                <c:pt idx="3">
                  <c:v>Karlovy Vary</c:v>
                </c:pt>
                <c:pt idx="4">
                  <c:v>Příbram</c:v>
                </c:pt>
                <c:pt idx="5">
                  <c:v>Louny</c:v>
                </c:pt>
                <c:pt idx="6">
                  <c:v>Pardubice</c:v>
                </c:pt>
                <c:pt idx="7">
                  <c:v>Žďár nad Sázavou</c:v>
                </c:pt>
                <c:pt idx="8">
                  <c:v>Praha-východ</c:v>
                </c:pt>
                <c:pt idx="9">
                  <c:v>Praha</c:v>
                </c:pt>
                <c:pt idx="10">
                  <c:v>Mělník</c:v>
                </c:pt>
                <c:pt idx="11">
                  <c:v>Kladno</c:v>
                </c:pt>
                <c:pt idx="12">
                  <c:v>Rokycany</c:v>
                </c:pt>
                <c:pt idx="13">
                  <c:v>Most</c:v>
                </c:pt>
                <c:pt idx="14">
                  <c:v>Teplice</c:v>
                </c:pt>
                <c:pt idx="15">
                  <c:v>Hradec Králové</c:v>
                </c:pt>
                <c:pt idx="16">
                  <c:v>Jičín</c:v>
                </c:pt>
                <c:pt idx="17">
                  <c:v>Rychnov nad Kněžnou</c:v>
                </c:pt>
                <c:pt idx="18">
                  <c:v>Opava</c:v>
                </c:pt>
                <c:pt idx="19">
                  <c:v>Nymburk</c:v>
                </c:pt>
              </c:strCache>
            </c:strRef>
          </c:cat>
          <c:val>
            <c:numRef>
              <c:f>Sheet1!$B$2:$B$21</c:f>
              <c:numCache>
                <c:formatCode>0.000</c:formatCode>
                <c:ptCount val="20"/>
                <c:pt idx="0">
                  <c:v>7</c:v>
                </c:pt>
                <c:pt idx="1">
                  <c:v>3</c:v>
                </c:pt>
                <c:pt idx="2">
                  <c:v>3</c:v>
                </c:pt>
                <c:pt idx="3">
                  <c:v>2</c:v>
                </c:pt>
                <c:pt idx="4">
                  <c:v>1.6</c:v>
                </c:pt>
                <c:pt idx="5">
                  <c:v>1.5</c:v>
                </c:pt>
                <c:pt idx="6">
                  <c:v>1.5</c:v>
                </c:pt>
                <c:pt idx="7">
                  <c:v>1.3571428569999999</c:v>
                </c:pt>
                <c:pt idx="8">
                  <c:v>1.1666666670000001</c:v>
                </c:pt>
                <c:pt idx="9">
                  <c:v>1.138888889</c:v>
                </c:pt>
                <c:pt idx="10">
                  <c:v>1.066666667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0.95652173900000004</c:v>
                </c:pt>
                <c:pt idx="19">
                  <c:v>0.9090909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.00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5A9-49E6-9E93-BE08CED75D1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5A9-49E6-9E93-BE08CED75D1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5A9-49E6-9E93-BE08CED75D1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4FC-4F2A-8850-F74443BEFA26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4FC-4F2A-8850-F74443BEFA26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73E9-4B36-9F13-8DFA296BC427}"/>
              </c:ext>
            </c:extLst>
          </c:dPt>
          <c:dPt>
            <c:idx val="7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84FC-4F2A-8850-F74443BEFA26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4FC-4F2A-8850-F74443BEFA26}"/>
              </c:ext>
            </c:extLst>
          </c:dPt>
          <c:dPt>
            <c:idx val="9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5761-464C-8A89-6CB72EF9EC50}"/>
              </c:ext>
            </c:extLst>
          </c:dPt>
          <c:dPt>
            <c:idx val="1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84FC-4F2A-8850-F74443BEFA26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73E9-4B36-9F13-8DFA296BC42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73E9-4B36-9F13-8DFA296BC42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73E9-4B36-9F13-8DFA296BC427}"/>
              </c:ext>
            </c:extLst>
          </c:dPt>
          <c:dPt>
            <c:idx val="1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73E9-4B36-9F13-8DFA296BC42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Strakonice</c:v>
                </c:pt>
                <c:pt idx="1">
                  <c:v>Tachov</c:v>
                </c:pt>
                <c:pt idx="2">
                  <c:v>Bruntál</c:v>
                </c:pt>
                <c:pt idx="3">
                  <c:v>Karlovy Vary</c:v>
                </c:pt>
                <c:pt idx="4">
                  <c:v>Příbram</c:v>
                </c:pt>
                <c:pt idx="5">
                  <c:v>Louny</c:v>
                </c:pt>
                <c:pt idx="6">
                  <c:v>Pardubice</c:v>
                </c:pt>
                <c:pt idx="7">
                  <c:v>Žďár nad Sázavou</c:v>
                </c:pt>
                <c:pt idx="8">
                  <c:v>Praha-východ</c:v>
                </c:pt>
                <c:pt idx="9">
                  <c:v>Praha</c:v>
                </c:pt>
                <c:pt idx="10">
                  <c:v>Mělník</c:v>
                </c:pt>
                <c:pt idx="11">
                  <c:v>Kladno</c:v>
                </c:pt>
                <c:pt idx="12">
                  <c:v>Rokycany</c:v>
                </c:pt>
                <c:pt idx="13">
                  <c:v>Most</c:v>
                </c:pt>
                <c:pt idx="14">
                  <c:v>Teplice</c:v>
                </c:pt>
                <c:pt idx="15">
                  <c:v>Hradec Králové</c:v>
                </c:pt>
                <c:pt idx="16">
                  <c:v>Jičín</c:v>
                </c:pt>
                <c:pt idx="17">
                  <c:v>Rychnov nad Kněžnou</c:v>
                </c:pt>
                <c:pt idx="18">
                  <c:v>Opava</c:v>
                </c:pt>
                <c:pt idx="19">
                  <c:v>Nymburk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9.9245732429999993</c:v>
                </c:pt>
                <c:pt idx="1">
                  <c:v>11.03164243</c:v>
                </c:pt>
                <c:pt idx="2">
                  <c:v>6.5955084590000004</c:v>
                </c:pt>
                <c:pt idx="3">
                  <c:v>1.7486491689999999</c:v>
                </c:pt>
                <c:pt idx="4">
                  <c:v>20.826824949999999</c:v>
                </c:pt>
                <c:pt idx="5">
                  <c:v>3.4736695850000001</c:v>
                </c:pt>
                <c:pt idx="6">
                  <c:v>8.516098264</c:v>
                </c:pt>
                <c:pt idx="7">
                  <c:v>16.109749789999999</c:v>
                </c:pt>
                <c:pt idx="8">
                  <c:v>11.114698389999999</c:v>
                </c:pt>
                <c:pt idx="9">
                  <c:v>15.3548391</c:v>
                </c:pt>
                <c:pt idx="10">
                  <c:v>14.54717376</c:v>
                </c:pt>
                <c:pt idx="11">
                  <c:v>10.189097670000001</c:v>
                </c:pt>
                <c:pt idx="12">
                  <c:v>6.0619531609999999</c:v>
                </c:pt>
                <c:pt idx="13">
                  <c:v>6.3101151150000003</c:v>
                </c:pt>
                <c:pt idx="14">
                  <c:v>6.2097337579999996</c:v>
                </c:pt>
                <c:pt idx="15">
                  <c:v>3.6488582109999999</c:v>
                </c:pt>
                <c:pt idx="16">
                  <c:v>4.9916390049999997</c:v>
                </c:pt>
                <c:pt idx="17">
                  <c:v>1.260509498</c:v>
                </c:pt>
                <c:pt idx="18">
                  <c:v>12.515858160000001</c:v>
                </c:pt>
                <c:pt idx="19">
                  <c:v>19.69686524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5A9-49E6-9E93-BE08CED75D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62E-4D6A-9D87-419241CDACF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62E-4D6A-9D87-419241CDACF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62E-4D6A-9D87-419241CDACFF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5620-444F-9EC4-BCE9F26ABDE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Strakonice</c:v>
                </c:pt>
                <c:pt idx="1">
                  <c:v>Tachov</c:v>
                </c:pt>
                <c:pt idx="2">
                  <c:v>Bruntál</c:v>
                </c:pt>
                <c:pt idx="3">
                  <c:v>Karlovy Vary</c:v>
                </c:pt>
                <c:pt idx="4">
                  <c:v>Příbram</c:v>
                </c:pt>
                <c:pt idx="5">
                  <c:v>Louny</c:v>
                </c:pt>
                <c:pt idx="6">
                  <c:v>Pardubice</c:v>
                </c:pt>
                <c:pt idx="7">
                  <c:v>Žďár nad Sázavou</c:v>
                </c:pt>
                <c:pt idx="8">
                  <c:v>Praha-východ</c:v>
                </c:pt>
                <c:pt idx="9">
                  <c:v>Praha</c:v>
                </c:pt>
                <c:pt idx="10">
                  <c:v>Mělník</c:v>
                </c:pt>
                <c:pt idx="11">
                  <c:v>Kladno</c:v>
                </c:pt>
                <c:pt idx="12">
                  <c:v>Rokycany</c:v>
                </c:pt>
                <c:pt idx="13">
                  <c:v>Most</c:v>
                </c:pt>
                <c:pt idx="14">
                  <c:v>Teplice</c:v>
                </c:pt>
                <c:pt idx="15">
                  <c:v>Hradec Králové</c:v>
                </c:pt>
                <c:pt idx="16">
                  <c:v>Jičín</c:v>
                </c:pt>
                <c:pt idx="17">
                  <c:v>Rychnov nad Kněžnou</c:v>
                </c:pt>
                <c:pt idx="18">
                  <c:v>Opava</c:v>
                </c:pt>
                <c:pt idx="19">
                  <c:v>Nymburk</c:v>
                </c:pt>
              </c:strCache>
            </c:strRef>
          </c:cat>
          <c:val>
            <c:numRef>
              <c:f>Sheet1!$B$2:$B$21</c:f>
              <c:numCache>
                <c:formatCode>_(* #,##0.00_);_(* \(#,##0.00\);_(* "-"??_);_(@_)</c:formatCode>
                <c:ptCount val="20"/>
                <c:pt idx="0">
                  <c:v>0</c:v>
                </c:pt>
                <c:pt idx="1">
                  <c:v>1.052631579</c:v>
                </c:pt>
                <c:pt idx="2">
                  <c:v>0.68846815800000005</c:v>
                </c:pt>
                <c:pt idx="3">
                  <c:v>0.97087378599999996</c:v>
                </c:pt>
                <c:pt idx="4">
                  <c:v>0.948616601</c:v>
                </c:pt>
                <c:pt idx="5">
                  <c:v>0.62761506300000003</c:v>
                </c:pt>
                <c:pt idx="6">
                  <c:v>0.20455126600000001</c:v>
                </c:pt>
                <c:pt idx="7">
                  <c:v>0.64220183500000005</c:v>
                </c:pt>
                <c:pt idx="8">
                  <c:v>0.33500837500000002</c:v>
                </c:pt>
                <c:pt idx="9">
                  <c:v>0.35387431400000002</c:v>
                </c:pt>
                <c:pt idx="10">
                  <c:v>1.0212097410000001</c:v>
                </c:pt>
                <c:pt idx="11">
                  <c:v>0.300842359</c:v>
                </c:pt>
                <c:pt idx="12">
                  <c:v>1.0204081629999999</c:v>
                </c:pt>
                <c:pt idx="13">
                  <c:v>0.34387895499999999</c:v>
                </c:pt>
                <c:pt idx="14">
                  <c:v>0.33829499299999999</c:v>
                </c:pt>
                <c:pt idx="15">
                  <c:v>0.28901734099999998</c:v>
                </c:pt>
                <c:pt idx="16">
                  <c:v>0.32679738600000002</c:v>
                </c:pt>
                <c:pt idx="17">
                  <c:v>0.735294118</c:v>
                </c:pt>
                <c:pt idx="18">
                  <c:v>0.63241106700000005</c:v>
                </c:pt>
                <c:pt idx="19">
                  <c:v>1.239157373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62E-4D6A-9D87-419241CDACF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.0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155:$H$322</c:f>
              <c:numCache>
                <c:formatCode>General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155:$I$322</c:f>
              <c:numCache>
                <c:formatCode>General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.0</c:formatCode>
                <c:ptCount val="168"/>
                <c:pt idx="0">
                  <c:v>445.18675485244489</c:v>
                </c:pt>
                <c:pt idx="1">
                  <c:v>444.756604652411</c:v>
                </c:pt>
                <c:pt idx="2">
                  <c:v>455.63192384022386</c:v>
                </c:pt>
                <c:pt idx="3">
                  <c:v>456.54833078812209</c:v>
                </c:pt>
                <c:pt idx="4">
                  <c:v>461.88780392332518</c:v>
                </c:pt>
                <c:pt idx="5">
                  <c:v>469.04138877171454</c:v>
                </c:pt>
                <c:pt idx="6">
                  <c:v>467.90055563249427</c:v>
                </c:pt>
                <c:pt idx="7">
                  <c:v>473.12781567203626</c:v>
                </c:pt>
                <c:pt idx="8">
                  <c:v>483.71325102939147</c:v>
                </c:pt>
                <c:pt idx="9">
                  <c:v>482.51631134234071</c:v>
                </c:pt>
                <c:pt idx="10">
                  <c:v>491.02580442996731</c:v>
                </c:pt>
                <c:pt idx="11">
                  <c:v>492.96148033011968</c:v>
                </c:pt>
                <c:pt idx="12">
                  <c:v>495.9631806390517</c:v>
                </c:pt>
                <c:pt idx="13">
                  <c:v>499.9747988089328</c:v>
                </c:pt>
                <c:pt idx="14">
                  <c:v>510.5228298010677</c:v>
                </c:pt>
                <c:pt idx="15">
                  <c:v>532.27346817669331</c:v>
                </c:pt>
                <c:pt idx="16">
                  <c:v>545.36499600381114</c:v>
                </c:pt>
                <c:pt idx="17">
                  <c:v>570.48202724926705</c:v>
                </c:pt>
                <c:pt idx="18">
                  <c:v>593.45765858585878</c:v>
                </c:pt>
                <c:pt idx="19">
                  <c:v>608.73734177836616</c:v>
                </c:pt>
                <c:pt idx="20">
                  <c:v>619.84643824880618</c:v>
                </c:pt>
                <c:pt idx="21">
                  <c:v>643.27092196804188</c:v>
                </c:pt>
                <c:pt idx="22">
                  <c:v>673.49364906607377</c:v>
                </c:pt>
                <c:pt idx="23">
                  <c:v>700.20971692469914</c:v>
                </c:pt>
                <c:pt idx="24">
                  <c:v>727.17826424856173</c:v>
                </c:pt>
                <c:pt idx="25">
                  <c:v>759.79487072069514</c:v>
                </c:pt>
                <c:pt idx="26">
                  <c:v>769.60416549972831</c:v>
                </c:pt>
                <c:pt idx="27">
                  <c:v>774.46673297837219</c:v>
                </c:pt>
                <c:pt idx="28">
                  <c:v>783.02298152252411</c:v>
                </c:pt>
                <c:pt idx="29">
                  <c:v>791.82235844060824</c:v>
                </c:pt>
                <c:pt idx="30">
                  <c:v>805.30663210253965</c:v>
                </c:pt>
                <c:pt idx="31">
                  <c:v>805.87704867214961</c:v>
                </c:pt>
                <c:pt idx="32">
                  <c:v>790.86854712748959</c:v>
                </c:pt>
                <c:pt idx="33">
                  <c:v>803.08107237192951</c:v>
                </c:pt>
                <c:pt idx="34">
                  <c:v>797.42366213235368</c:v>
                </c:pt>
                <c:pt idx="35">
                  <c:v>781.78863747025309</c:v>
                </c:pt>
                <c:pt idx="36">
                  <c:v>768.51008781703354</c:v>
                </c:pt>
                <c:pt idx="37">
                  <c:v>761.95497281216956</c:v>
                </c:pt>
                <c:pt idx="38">
                  <c:v>730.12385800966319</c:v>
                </c:pt>
                <c:pt idx="39">
                  <c:v>746.86231144576379</c:v>
                </c:pt>
                <c:pt idx="40">
                  <c:v>726.54239003981593</c:v>
                </c:pt>
                <c:pt idx="41">
                  <c:v>720.46418069151127</c:v>
                </c:pt>
                <c:pt idx="42">
                  <c:v>720.24910559149441</c:v>
                </c:pt>
                <c:pt idx="43">
                  <c:v>707.77474979051226</c:v>
                </c:pt>
                <c:pt idx="44">
                  <c:v>684.3222127973612</c:v>
                </c:pt>
                <c:pt idx="45">
                  <c:v>678.86117547519211</c:v>
                </c:pt>
                <c:pt idx="46">
                  <c:v>629.75859503219533</c:v>
                </c:pt>
                <c:pt idx="47">
                  <c:v>615.81611789631495</c:v>
                </c:pt>
                <c:pt idx="48">
                  <c:v>607.00738988692569</c:v>
                </c:pt>
                <c:pt idx="49">
                  <c:v>584.64893057646952</c:v>
                </c:pt>
                <c:pt idx="50">
                  <c:v>556.04394227421722</c:v>
                </c:pt>
                <c:pt idx="51">
                  <c:v>526.30747192404965</c:v>
                </c:pt>
                <c:pt idx="52">
                  <c:v>500.73223720464466</c:v>
                </c:pt>
                <c:pt idx="53">
                  <c:v>482.05810786839163</c:v>
                </c:pt>
                <c:pt idx="54">
                  <c:v>468.05952418468064</c:v>
                </c:pt>
                <c:pt idx="55">
                  <c:v>462.00936811029123</c:v>
                </c:pt>
                <c:pt idx="56">
                  <c:v>449.81554504846162</c:v>
                </c:pt>
                <c:pt idx="57">
                  <c:v>427.9526935771749</c:v>
                </c:pt>
                <c:pt idx="58">
                  <c:v>413.12186276731148</c:v>
                </c:pt>
                <c:pt idx="59" formatCode="General">
                  <c:v>397.158341086718</c:v>
                </c:pt>
                <c:pt idx="60" formatCode="General">
                  <c:v>360.94940120692098</c:v>
                </c:pt>
                <c:pt idx="61" formatCode="General">
                  <c:v>344.03632219209902</c:v>
                </c:pt>
                <c:pt idx="62" formatCode="General">
                  <c:v>345.72763009358101</c:v>
                </c:pt>
                <c:pt idx="63" formatCode="General">
                  <c:v>294.17544394729902</c:v>
                </c:pt>
                <c:pt idx="64" formatCode="General">
                  <c:v>265.712881141141</c:v>
                </c:pt>
                <c:pt idx="65" formatCode="General">
                  <c:v>263.71321323552098</c:v>
                </c:pt>
                <c:pt idx="66" formatCode="General">
                  <c:v>254.72405190278201</c:v>
                </c:pt>
                <c:pt idx="67" formatCode="General">
                  <c:v>263.90009808651399</c:v>
                </c:pt>
                <c:pt idx="68" formatCode="General">
                  <c:v>264.311244758697</c:v>
                </c:pt>
                <c:pt idx="69" formatCode="General">
                  <c:v>255.52765676204899</c:v>
                </c:pt>
                <c:pt idx="70" formatCode="General">
                  <c:v>278.41170676608101</c:v>
                </c:pt>
                <c:pt idx="71" formatCode="General">
                  <c:v>273.46860245733001</c:v>
                </c:pt>
                <c:pt idx="72" formatCode="General">
                  <c:v>242.29620931177999</c:v>
                </c:pt>
                <c:pt idx="73" formatCode="General">
                  <c:v>223.42083936153699</c:v>
                </c:pt>
                <c:pt idx="74" formatCode="General">
                  <c:v>208.451362797038</c:v>
                </c:pt>
                <c:pt idx="75" formatCode="General">
                  <c:v>202.25612998663601</c:v>
                </c:pt>
                <c:pt idx="76" formatCode="General">
                  <c:v>200.83580511909301</c:v>
                </c:pt>
                <c:pt idx="77" formatCode="General">
                  <c:v>195.91138929544101</c:v>
                </c:pt>
                <c:pt idx="78" formatCode="General">
                  <c:v>184.333872776455</c:v>
                </c:pt>
                <c:pt idx="79" formatCode="General">
                  <c:v>177.18552722599199</c:v>
                </c:pt>
                <c:pt idx="80" formatCode="General">
                  <c:v>171.25193320698</c:v>
                </c:pt>
                <c:pt idx="81" formatCode="General">
                  <c:v>165.495879796411</c:v>
                </c:pt>
                <c:pt idx="82" formatCode="General">
                  <c:v>163.31867128234799</c:v>
                </c:pt>
                <c:pt idx="83" formatCode="General">
                  <c:v>163.243917341951</c:v>
                </c:pt>
                <c:pt idx="84" formatCode="General">
                  <c:v>156.12360451913699</c:v>
                </c:pt>
                <c:pt idx="85" formatCode="General">
                  <c:v>150.73197656800301</c:v>
                </c:pt>
                <c:pt idx="86" formatCode="General">
                  <c:v>146.405592267527</c:v>
                </c:pt>
                <c:pt idx="87" formatCode="General">
                  <c:v>142.67723949022599</c:v>
                </c:pt>
                <c:pt idx="88" formatCode="General">
                  <c:v>138.621838223689</c:v>
                </c:pt>
                <c:pt idx="89" formatCode="General">
                  <c:v>137.34167699439001</c:v>
                </c:pt>
                <c:pt idx="90" formatCode="General">
                  <c:v>134.379552106159</c:v>
                </c:pt>
                <c:pt idx="91" formatCode="General">
                  <c:v>131.01562478829399</c:v>
                </c:pt>
                <c:pt idx="92" formatCode="General">
                  <c:v>123.31596892740301</c:v>
                </c:pt>
                <c:pt idx="93" formatCode="General">
                  <c:v>117.569259759383</c:v>
                </c:pt>
                <c:pt idx="94" formatCode="General">
                  <c:v>111.43009240428</c:v>
                </c:pt>
                <c:pt idx="95" formatCode="General">
                  <c:v>106.48698809552801</c:v>
                </c:pt>
                <c:pt idx="96" formatCode="General">
                  <c:v>102.31945591839499</c:v>
                </c:pt>
                <c:pt idx="97" formatCode="General">
                  <c:v>101.151425599692</c:v>
                </c:pt>
                <c:pt idx="98" formatCode="General">
                  <c:v>94.844061878695001</c:v>
                </c:pt>
                <c:pt idx="99" formatCode="General">
                  <c:v>88.069486030217007</c:v>
                </c:pt>
                <c:pt idx="100" formatCode="General">
                  <c:v>82.378842317495</c:v>
                </c:pt>
                <c:pt idx="101" formatCode="General">
                  <c:v>79.117701667676002</c:v>
                </c:pt>
                <c:pt idx="102" formatCode="General">
                  <c:v>73.632631291045996</c:v>
                </c:pt>
                <c:pt idx="103" formatCode="General">
                  <c:v>72.436568244694001</c:v>
                </c:pt>
                <c:pt idx="104" formatCode="General">
                  <c:v>71.259193683440998</c:v>
                </c:pt>
                <c:pt idx="105" formatCode="General">
                  <c:v>67.371988782797004</c:v>
                </c:pt>
                <c:pt idx="106" formatCode="General">
                  <c:v>62.774621448380998</c:v>
                </c:pt>
                <c:pt idx="107" formatCode="General">
                  <c:v>58.233319569263998</c:v>
                </c:pt>
                <c:pt idx="108" formatCode="General">
                  <c:v>53.140707379718002</c:v>
                </c:pt>
                <c:pt idx="109" formatCode="General">
                  <c:v>49.58989521086</c:v>
                </c:pt>
                <c:pt idx="110" formatCode="General">
                  <c:v>47.123015177759001</c:v>
                </c:pt>
                <c:pt idx="111" formatCode="General">
                  <c:v>46.553016382232002</c:v>
                </c:pt>
                <c:pt idx="112" formatCode="General">
                  <c:v>42.516303600793997</c:v>
                </c:pt>
                <c:pt idx="113" formatCode="General">
                  <c:v>37.489101109095998</c:v>
                </c:pt>
                <c:pt idx="114" formatCode="General">
                  <c:v>35.246482897185999</c:v>
                </c:pt>
                <c:pt idx="115" formatCode="General">
                  <c:v>33.639273178650001</c:v>
                </c:pt>
                <c:pt idx="116" formatCode="General">
                  <c:v>31.592884060282</c:v>
                </c:pt>
                <c:pt idx="117" formatCode="General">
                  <c:v>30.555673137273999</c:v>
                </c:pt>
                <c:pt idx="118" formatCode="General">
                  <c:v>29.770756763104998</c:v>
                </c:pt>
                <c:pt idx="119" formatCode="General">
                  <c:v>28.042071891425</c:v>
                </c:pt>
                <c:pt idx="120" formatCode="General">
                  <c:v>26.332075504843001</c:v>
                </c:pt>
                <c:pt idx="121" formatCode="General">
                  <c:v>24.575357905514</c:v>
                </c:pt>
                <c:pt idx="122" formatCode="General">
                  <c:v>23.799785773895</c:v>
                </c:pt>
                <c:pt idx="123" formatCode="General">
                  <c:v>22.557001514795001</c:v>
                </c:pt>
                <c:pt idx="124" formatCode="General">
                  <c:v>21.902904536321</c:v>
                </c:pt>
                <c:pt idx="125" formatCode="General">
                  <c:v>21.753396655526998</c:v>
                </c:pt>
                <c:pt idx="126" formatCode="General">
                  <c:v>19.725696022257999</c:v>
                </c:pt>
                <c:pt idx="127" formatCode="General">
                  <c:v>18.856681465143001</c:v>
                </c:pt>
                <c:pt idx="128" formatCode="General">
                  <c:v>17.922257210181002</c:v>
                </c:pt>
                <c:pt idx="129" formatCode="General">
                  <c:v>15.745048696117999</c:v>
                </c:pt>
                <c:pt idx="130" formatCode="General">
                  <c:v>14.43685473917</c:v>
                </c:pt>
                <c:pt idx="131" formatCode="General">
                  <c:v>13.69865957775</c:v>
                </c:pt>
                <c:pt idx="132" formatCode="General">
                  <c:v>13.184726237521</c:v>
                </c:pt>
                <c:pt idx="133" formatCode="General">
                  <c:v>12.082105616665</c:v>
                </c:pt>
                <c:pt idx="134" formatCode="General">
                  <c:v>10.428174685381</c:v>
                </c:pt>
                <c:pt idx="135" formatCode="General">
                  <c:v>9.3162098219760008</c:v>
                </c:pt>
                <c:pt idx="136" formatCode="General">
                  <c:v>9.0452267880370005</c:v>
                </c:pt>
                <c:pt idx="137" formatCode="General">
                  <c:v>8.7462110264490001</c:v>
                </c:pt>
                <c:pt idx="138" formatCode="General">
                  <c:v>8.652768600951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6.678663493405004</c:v>
                </c:pt>
                <c:pt idx="121" formatCode="0">
                  <c:v>25.004818149794943</c:v>
                </c:pt>
                <c:pt idx="122" formatCode="0">
                  <c:v>23.480590267066233</c:v>
                </c:pt>
                <c:pt idx="123" formatCode="0">
                  <c:v>22.077926571303614</c:v>
                </c:pt>
                <c:pt idx="124" formatCode="0">
                  <c:v>20.796827062507088</c:v>
                </c:pt>
                <c:pt idx="125" formatCode="0">
                  <c:v>19.618589558066489</c:v>
                </c:pt>
                <c:pt idx="126" formatCode="0">
                  <c:v>18.524511875371648</c:v>
                </c:pt>
                <c:pt idx="127" formatCode="0">
                  <c:v>17.486540740507309</c:v>
                </c:pt>
                <c:pt idx="128" formatCode="0">
                  <c:v>16.504676153473476</c:v>
                </c:pt>
                <c:pt idx="129" formatCode="0">
                  <c:v>15.588269205575234</c:v>
                </c:pt>
                <c:pt idx="130" formatCode="0">
                  <c:v>14.737319896812579</c:v>
                </c:pt>
                <c:pt idx="131" formatCode="0">
                  <c:v>13.942477135880427</c:v>
                </c:pt>
                <c:pt idx="132" formatCode="0">
                  <c:v>13.194389831473698</c:v>
                </c:pt>
                <c:pt idx="133" formatCode="0">
                  <c:v>12.502409074897471</c:v>
                </c:pt>
                <c:pt idx="134" formatCode="0">
                  <c:v>11.8384815922365</c:v>
                </c:pt>
                <c:pt idx="135" formatCode="0">
                  <c:v>11.221309566100947</c:v>
                </c:pt>
                <c:pt idx="136" formatCode="0">
                  <c:v>10.641541905185731</c:v>
                </c:pt>
                <c:pt idx="137" formatCode="0">
                  <c:v>10.099178609490853</c:v>
                </c:pt>
                <c:pt idx="138" formatCode="0">
                  <c:v>9.5942196790163106</c:v>
                </c:pt>
                <c:pt idx="139" formatCode="0">
                  <c:v>9.1266651137621047</c:v>
                </c:pt>
                <c:pt idx="140" formatCode="0">
                  <c:v>8.6778127311180651</c:v>
                </c:pt>
                <c:pt idx="141" formatCode="0">
                  <c:v>8.2663647136943652</c:v>
                </c:pt>
                <c:pt idx="142" formatCode="0">
                  <c:v>7.8736188788808317</c:v>
                </c:pt>
                <c:pt idx="143" formatCode="0">
                  <c:v>7.5089263179825503</c:v>
                </c:pt>
                <c:pt idx="144" formatCode="0">
                  <c:v>7.1722870309995219</c:v>
                </c:pt>
                <c:pt idx="145" formatCode="0">
                  <c:v>6.8449988353215776</c:v>
                </c:pt>
                <c:pt idx="146" formatCode="0">
                  <c:v>6.5364128222538023</c:v>
                </c:pt>
                <c:pt idx="147" formatCode="0">
                  <c:v>6.2465289917961941</c:v>
                </c:pt>
                <c:pt idx="148" formatCode="0">
                  <c:v>5.984698435253839</c:v>
                </c:pt>
                <c:pt idx="149" formatCode="0">
                  <c:v>5.732218970016568</c:v>
                </c:pt>
                <c:pt idx="150" formatCode="0">
                  <c:v>5.4984416873894641</c:v>
                </c:pt>
                <c:pt idx="151" formatCode="0">
                  <c:v>5.2740154960674452</c:v>
                </c:pt>
                <c:pt idx="152" formatCode="0">
                  <c:v>5.0682914873555944</c:v>
                </c:pt>
                <c:pt idx="153" formatCode="0">
                  <c:v>4.8719185699488285</c:v>
                </c:pt>
                <c:pt idx="154" formatCode="0">
                  <c:v>4.6942478351522299</c:v>
                </c:pt>
                <c:pt idx="155" formatCode="0">
                  <c:v>4.5165771003556312</c:v>
                </c:pt>
                <c:pt idx="156" formatCode="0">
                  <c:v>4.3669596394742856</c:v>
                </c:pt>
                <c:pt idx="157" formatCode="0">
                  <c:v>4.2173421785929399</c:v>
                </c:pt>
                <c:pt idx="158" formatCode="0">
                  <c:v>4.0864269003217615</c:v>
                </c:pt>
                <c:pt idx="159" formatCode="0">
                  <c:v>3.9555116220505839</c:v>
                </c:pt>
                <c:pt idx="160" formatCode="0">
                  <c:v>3.8339474350844904</c:v>
                </c:pt>
                <c:pt idx="161" formatCode="0">
                  <c:v>3.7217343394234805</c:v>
                </c:pt>
                <c:pt idx="162" formatCode="0">
                  <c:v>3.6095212437624715</c:v>
                </c:pt>
                <c:pt idx="163" formatCode="0">
                  <c:v>3.5066592394065461</c:v>
                </c:pt>
                <c:pt idx="164" formatCode="0">
                  <c:v>3.4131483263557048</c:v>
                </c:pt>
                <c:pt idx="165" formatCode="0">
                  <c:v>3.3196374133048638</c:v>
                </c:pt>
                <c:pt idx="166" formatCode="0">
                  <c:v>3.2261265002540225</c:v>
                </c:pt>
                <c:pt idx="167" formatCode="0">
                  <c:v>3.1513177698133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.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7.015302780388033</c:v>
                </c:pt>
                <c:pt idx="121" formatCode="0">
                  <c:v>25.846416367252516</c:v>
                </c:pt>
                <c:pt idx="122" formatCode="0">
                  <c:v>24.911307236744104</c:v>
                </c:pt>
                <c:pt idx="123" formatCode="0">
                  <c:v>24.135166658422122</c:v>
                </c:pt>
                <c:pt idx="124" formatCode="0">
                  <c:v>23.546047906201821</c:v>
                </c:pt>
                <c:pt idx="125" formatCode="0">
                  <c:v>23.16265316269337</c:v>
                </c:pt>
                <c:pt idx="126" formatCode="0">
                  <c:v>22.984982427896774</c:v>
                </c:pt>
                <c:pt idx="127" formatCode="0">
                  <c:v>22.629640958303575</c:v>
                </c:pt>
                <c:pt idx="128" formatCode="0">
                  <c:v>22.218192940879877</c:v>
                </c:pt>
                <c:pt idx="129" formatCode="0">
                  <c:v>21.834798197371427</c:v>
                </c:pt>
                <c:pt idx="130" formatCode="0">
                  <c:v>21.516861092998568</c:v>
                </c:pt>
                <c:pt idx="131" formatCode="0">
                  <c:v>21.255030536456211</c:v>
                </c:pt>
                <c:pt idx="132" formatCode="0">
                  <c:v>21.002551071218942</c:v>
                </c:pt>
                <c:pt idx="133" formatCode="0">
                  <c:v>20.7313694233715</c:v>
                </c:pt>
                <c:pt idx="134" formatCode="0">
                  <c:v>20.422783410303722</c:v>
                </c:pt>
                <c:pt idx="135" formatCode="0">
                  <c:v>20.123548488541033</c:v>
                </c:pt>
                <c:pt idx="136" formatCode="0">
                  <c:v>19.843015749388506</c:v>
                </c:pt>
                <c:pt idx="137" formatCode="0">
                  <c:v>19.599887375456323</c:v>
                </c:pt>
                <c:pt idx="138" formatCode="0">
                  <c:v>19.347407910219051</c:v>
                </c:pt>
                <c:pt idx="139" formatCode="0">
                  <c:v>19.085577353676694</c:v>
                </c:pt>
                <c:pt idx="140" formatCode="0">
                  <c:v>18.823746797134341</c:v>
                </c:pt>
                <c:pt idx="141" formatCode="0">
                  <c:v>18.571267331897069</c:v>
                </c:pt>
                <c:pt idx="142" formatCode="0">
                  <c:v>18.328138957964878</c:v>
                </c:pt>
                <c:pt idx="143" formatCode="0">
                  <c:v>18.103712766642861</c:v>
                </c:pt>
                <c:pt idx="144" formatCode="0">
                  <c:v>17.879286575320844</c:v>
                </c:pt>
                <c:pt idx="145" formatCode="0">
                  <c:v>17.654860383998823</c:v>
                </c:pt>
                <c:pt idx="146" formatCode="0">
                  <c:v>17.430434192676806</c:v>
                </c:pt>
                <c:pt idx="147" formatCode="0">
                  <c:v>17.206008001354789</c:v>
                </c:pt>
                <c:pt idx="148" formatCode="0">
                  <c:v>16.990932901337853</c:v>
                </c:pt>
                <c:pt idx="149" formatCode="0">
                  <c:v>16.785208892626002</c:v>
                </c:pt>
                <c:pt idx="150" formatCode="0">
                  <c:v>16.579484883914152</c:v>
                </c:pt>
                <c:pt idx="151" formatCode="0">
                  <c:v>16.373760875202301</c:v>
                </c:pt>
                <c:pt idx="152" formatCode="0">
                  <c:v>16.16803686649045</c:v>
                </c:pt>
                <c:pt idx="153" formatCode="0">
                  <c:v>15.971663949083682</c:v>
                </c:pt>
                <c:pt idx="154" formatCode="0">
                  <c:v>15.784642122982</c:v>
                </c:pt>
                <c:pt idx="155" formatCode="0">
                  <c:v>15.597620296880317</c:v>
                </c:pt>
                <c:pt idx="156" formatCode="0">
                  <c:v>15.410598470778634</c:v>
                </c:pt>
                <c:pt idx="157" formatCode="0">
                  <c:v>15.232927735982036</c:v>
                </c:pt>
                <c:pt idx="158" formatCode="0">
                  <c:v>15.055257001185437</c:v>
                </c:pt>
                <c:pt idx="159" formatCode="0">
                  <c:v>14.886937357693922</c:v>
                </c:pt>
                <c:pt idx="160" formatCode="0">
                  <c:v>14.718617714202407</c:v>
                </c:pt>
                <c:pt idx="161" formatCode="0">
                  <c:v>14.550298070710896</c:v>
                </c:pt>
                <c:pt idx="162" formatCode="0">
                  <c:v>14.381978427219382</c:v>
                </c:pt>
                <c:pt idx="163" formatCode="0">
                  <c:v>14.22300987503295</c:v>
                </c:pt>
                <c:pt idx="164" formatCode="0">
                  <c:v>14.064041322846521</c:v>
                </c:pt>
                <c:pt idx="165" formatCode="0">
                  <c:v>13.905072770660091</c:v>
                </c:pt>
                <c:pt idx="166" formatCode="0">
                  <c:v>13.755455309778744</c:v>
                </c:pt>
                <c:pt idx="167" formatCode="0">
                  <c:v>13.605837848897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.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7.351942067371063</c:v>
                </c:pt>
                <c:pt idx="121" formatCode="0">
                  <c:v>26.697365676015167</c:v>
                </c:pt>
                <c:pt idx="122" formatCode="0">
                  <c:v>26.35137529772706</c:v>
                </c:pt>
                <c:pt idx="123" formatCode="0">
                  <c:v>26.19240674554063</c:v>
                </c:pt>
                <c:pt idx="124" formatCode="0">
                  <c:v>26.33267311511689</c:v>
                </c:pt>
                <c:pt idx="125" formatCode="0">
                  <c:v>26.828280954286345</c:v>
                </c:pt>
                <c:pt idx="126" formatCode="0">
                  <c:v>27.707283536964255</c:v>
                </c:pt>
                <c:pt idx="127" formatCode="0">
                  <c:v>28.249646832659135</c:v>
                </c:pt>
                <c:pt idx="128" formatCode="0">
                  <c:v>28.651743758777751</c:v>
                </c:pt>
                <c:pt idx="129" formatCode="0">
                  <c:v>29.091245050116708</c:v>
                </c:pt>
                <c:pt idx="130" formatCode="0">
                  <c:v>29.689714893642087</c:v>
                </c:pt>
                <c:pt idx="131" formatCode="0">
                  <c:v>30.391046741523397</c:v>
                </c:pt>
                <c:pt idx="132" formatCode="0">
                  <c:v>31.120431863319961</c:v>
                </c:pt>
                <c:pt idx="133" formatCode="0">
                  <c:v>31.784359345980935</c:v>
                </c:pt>
                <c:pt idx="134" formatCode="0">
                  <c:v>32.364127006896148</c:v>
                </c:pt>
                <c:pt idx="135" formatCode="0">
                  <c:v>32.971947941726619</c:v>
                </c:pt>
                <c:pt idx="136" formatCode="0">
                  <c:v>33.663928698302847</c:v>
                </c:pt>
                <c:pt idx="137" formatCode="0">
                  <c:v>34.421367094014656</c:v>
                </c:pt>
                <c:pt idx="138" formatCode="0">
                  <c:v>35.160103307116302</c:v>
                </c:pt>
                <c:pt idx="139" formatCode="0">
                  <c:v>35.870786246302693</c:v>
                </c:pt>
                <c:pt idx="140" formatCode="0">
                  <c:v>36.572118094183999</c:v>
                </c:pt>
                <c:pt idx="141" formatCode="0">
                  <c:v>37.282801033370397</c:v>
                </c:pt>
                <c:pt idx="142" formatCode="0">
                  <c:v>38.049590520387298</c:v>
                </c:pt>
                <c:pt idx="143" formatCode="0">
                  <c:v>38.844433281319446</c:v>
                </c:pt>
                <c:pt idx="144" formatCode="0">
                  <c:v>39.639276042251602</c:v>
                </c:pt>
                <c:pt idx="145" formatCode="0">
                  <c:v>40.424767711878665</c:v>
                </c:pt>
                <c:pt idx="146" formatCode="0">
                  <c:v>41.219610472810814</c:v>
                </c:pt>
                <c:pt idx="147" formatCode="0">
                  <c:v>42.042506507658217</c:v>
                </c:pt>
                <c:pt idx="148" formatCode="0">
                  <c:v>42.893455816420868</c:v>
                </c:pt>
                <c:pt idx="149" formatCode="0">
                  <c:v>43.763107307793696</c:v>
                </c:pt>
                <c:pt idx="150" formatCode="0">
                  <c:v>44.623407707861432</c:v>
                </c:pt>
                <c:pt idx="151" formatCode="0">
                  <c:v>45.502410290539338</c:v>
                </c:pt>
                <c:pt idx="152" formatCode="0">
                  <c:v>46.40011505582742</c:v>
                </c:pt>
                <c:pt idx="153" formatCode="0">
                  <c:v>47.316522003725666</c:v>
                </c:pt>
                <c:pt idx="154" formatCode="0">
                  <c:v>48.251631134234074</c:v>
                </c:pt>
                <c:pt idx="155" formatCode="0">
                  <c:v>49.214793538657737</c:v>
                </c:pt>
                <c:pt idx="156" formatCode="0">
                  <c:v>50.1779559430814</c:v>
                </c:pt>
                <c:pt idx="157" formatCode="0">
                  <c:v>51.169171621420318</c:v>
                </c:pt>
                <c:pt idx="158" formatCode="0">
                  <c:v>52.160387299759236</c:v>
                </c:pt>
                <c:pt idx="159" formatCode="0">
                  <c:v>53.179656252013409</c:v>
                </c:pt>
                <c:pt idx="160" formatCode="0">
                  <c:v>54.217627386877751</c:v>
                </c:pt>
                <c:pt idx="161" formatCode="0">
                  <c:v>55.264949613047165</c:v>
                </c:pt>
                <c:pt idx="162" formatCode="0">
                  <c:v>56.330974021826755</c:v>
                </c:pt>
                <c:pt idx="163" formatCode="0">
                  <c:v>57.4250517045216</c:v>
                </c:pt>
                <c:pt idx="164" formatCode="0">
                  <c:v>58.52848047852153</c:v>
                </c:pt>
                <c:pt idx="165" formatCode="0">
                  <c:v>59.659962526436701</c:v>
                </c:pt>
                <c:pt idx="166" formatCode="0">
                  <c:v>60.810146756962048</c:v>
                </c:pt>
                <c:pt idx="167" formatCode="0">
                  <c:v>61.9790331700975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99220866411182E-2"/>
          <c:y val="2.3315360590843423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19.06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441.77120000000002</c:v>
                </c:pt>
                <c:pt idx="1">
                  <c:v>450.76170000000002</c:v>
                </c:pt>
                <c:pt idx="2">
                  <c:v>380.4239</c:v>
                </c:pt>
                <c:pt idx="3">
                  <c:v>333.88451900000001</c:v>
                </c:pt>
                <c:pt idx="4">
                  <c:v>276.59179999999998</c:v>
                </c:pt>
                <c:pt idx="5">
                  <c:v>198.4973</c:v>
                </c:pt>
                <c:pt idx="6">
                  <c:v>152.1343</c:v>
                </c:pt>
                <c:pt idx="7">
                  <c:v>138.73660000000001</c:v>
                </c:pt>
                <c:pt idx="8">
                  <c:v>105.94750000000001</c:v>
                </c:pt>
                <c:pt idx="9">
                  <c:v>94.841539999999995</c:v>
                </c:pt>
                <c:pt idx="10">
                  <c:v>76.860429999999994</c:v>
                </c:pt>
                <c:pt idx="11">
                  <c:v>58.52675</c:v>
                </c:pt>
                <c:pt idx="12">
                  <c:v>39.840499999999999</c:v>
                </c:pt>
                <c:pt idx="13">
                  <c:v>23.974810000000002</c:v>
                </c:pt>
                <c:pt idx="14">
                  <c:v>16.041969999999999</c:v>
                </c:pt>
                <c:pt idx="15">
                  <c:v>7.7565569999999999</c:v>
                </c:pt>
                <c:pt idx="16">
                  <c:v>3.349422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19.06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780.90329999999994</c:v>
                </c:pt>
                <c:pt idx="1">
                  <c:v>726.89269999999999</c:v>
                </c:pt>
                <c:pt idx="2">
                  <c:v>565.36099999999999</c:v>
                </c:pt>
                <c:pt idx="3">
                  <c:v>451.71364879999999</c:v>
                </c:pt>
                <c:pt idx="4">
                  <c:v>358.94540000000001</c:v>
                </c:pt>
                <c:pt idx="5">
                  <c:v>253.2997</c:v>
                </c:pt>
                <c:pt idx="6">
                  <c:v>198.91399999999999</c:v>
                </c:pt>
                <c:pt idx="7">
                  <c:v>199.16409999999999</c:v>
                </c:pt>
                <c:pt idx="8">
                  <c:v>172.65889999999999</c:v>
                </c:pt>
                <c:pt idx="9">
                  <c:v>146.77879999999999</c:v>
                </c:pt>
                <c:pt idx="10">
                  <c:v>118.2732</c:v>
                </c:pt>
                <c:pt idx="11">
                  <c:v>76.890090000000001</c:v>
                </c:pt>
                <c:pt idx="12">
                  <c:v>63.387439999999998</c:v>
                </c:pt>
                <c:pt idx="13">
                  <c:v>45.633960000000002</c:v>
                </c:pt>
                <c:pt idx="14">
                  <c:v>30.505990000000001</c:v>
                </c:pt>
                <c:pt idx="15">
                  <c:v>16.003139999999998</c:v>
                </c:pt>
                <c:pt idx="16">
                  <c:v>8.501668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19.06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685.57659999999998</c:v>
                </c:pt>
                <c:pt idx="1">
                  <c:v>723.17650000000003</c:v>
                </c:pt>
                <c:pt idx="2">
                  <c:v>702.77530000000002</c:v>
                </c:pt>
                <c:pt idx="3">
                  <c:v>607.52995539999995</c:v>
                </c:pt>
                <c:pt idx="4">
                  <c:v>456.53710000000001</c:v>
                </c:pt>
                <c:pt idx="5">
                  <c:v>339.46710000000002</c:v>
                </c:pt>
                <c:pt idx="6">
                  <c:v>260.9461</c:v>
                </c:pt>
                <c:pt idx="7">
                  <c:v>231.53039999999999</c:v>
                </c:pt>
                <c:pt idx="8">
                  <c:v>169.1405</c:v>
                </c:pt>
                <c:pt idx="9">
                  <c:v>148.97649999999999</c:v>
                </c:pt>
                <c:pt idx="10">
                  <c:v>114.22320000000001</c:v>
                </c:pt>
                <c:pt idx="11">
                  <c:v>79.351339999999993</c:v>
                </c:pt>
                <c:pt idx="12">
                  <c:v>60.610660000000003</c:v>
                </c:pt>
                <c:pt idx="13">
                  <c:v>46.851689999999998</c:v>
                </c:pt>
                <c:pt idx="14">
                  <c:v>41.869990000000001</c:v>
                </c:pt>
                <c:pt idx="15">
                  <c:v>33.685769999999998</c:v>
                </c:pt>
                <c:pt idx="16">
                  <c:v>17.08011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19.06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657.49969999999996</c:v>
                </c:pt>
                <c:pt idx="1">
                  <c:v>654.60410000000002</c:v>
                </c:pt>
                <c:pt idx="2">
                  <c:v>570.31269999999995</c:v>
                </c:pt>
                <c:pt idx="3">
                  <c:v>480.90866349999999</c:v>
                </c:pt>
                <c:pt idx="4">
                  <c:v>375.03550000000001</c:v>
                </c:pt>
                <c:pt idx="5">
                  <c:v>272.10320000000002</c:v>
                </c:pt>
                <c:pt idx="6">
                  <c:v>210.57</c:v>
                </c:pt>
                <c:pt idx="7">
                  <c:v>196.00120000000001</c:v>
                </c:pt>
                <c:pt idx="8">
                  <c:v>154.19479999999999</c:v>
                </c:pt>
                <c:pt idx="9">
                  <c:v>134.28700000000001</c:v>
                </c:pt>
                <c:pt idx="10">
                  <c:v>106.0994</c:v>
                </c:pt>
                <c:pt idx="11">
                  <c:v>73.115849999999995</c:v>
                </c:pt>
                <c:pt idx="12">
                  <c:v>56.284730000000003</c:v>
                </c:pt>
                <c:pt idx="13">
                  <c:v>40.539479999999998</c:v>
                </c:pt>
                <c:pt idx="14">
                  <c:v>31.128530000000001</c:v>
                </c:pt>
                <c:pt idx="15">
                  <c:v>20.631699999999999</c:v>
                </c:pt>
                <c:pt idx="16">
                  <c:v>10.45158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19.06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769.04049999999995</c:v>
                </c:pt>
                <c:pt idx="1">
                  <c:v>802.51160000000004</c:v>
                </c:pt>
                <c:pt idx="2">
                  <c:v>726.85130000000004</c:v>
                </c:pt>
                <c:pt idx="3">
                  <c:v>615.37443729999995</c:v>
                </c:pt>
                <c:pt idx="4">
                  <c:v>467.74470000000002</c:v>
                </c:pt>
                <c:pt idx="5">
                  <c:v>344.03629999999998</c:v>
                </c:pt>
                <c:pt idx="6">
                  <c:v>264.31119999999999</c:v>
                </c:pt>
                <c:pt idx="7">
                  <c:v>202.24680000000001</c:v>
                </c:pt>
                <c:pt idx="8">
                  <c:v>163.30930000000001</c:v>
                </c:pt>
                <c:pt idx="9">
                  <c:v>137.3417</c:v>
                </c:pt>
                <c:pt idx="10">
                  <c:v>102.31950000000001</c:v>
                </c:pt>
                <c:pt idx="11">
                  <c:v>72.436570000000003</c:v>
                </c:pt>
                <c:pt idx="12">
                  <c:v>47.132359999999998</c:v>
                </c:pt>
                <c:pt idx="13">
                  <c:v>30.555669999999999</c:v>
                </c:pt>
                <c:pt idx="14">
                  <c:v>21.902899999999999</c:v>
                </c:pt>
                <c:pt idx="15">
                  <c:v>13.69866</c:v>
                </c:pt>
                <c:pt idx="16">
                  <c:v>8.6527689999999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  <c:pt idx="61">
                  <c:v>44317</c:v>
                </c:pt>
                <c:pt idx="62">
                  <c:v>44318</c:v>
                </c:pt>
                <c:pt idx="63">
                  <c:v>44319</c:v>
                </c:pt>
                <c:pt idx="64">
                  <c:v>44320</c:v>
                </c:pt>
                <c:pt idx="65">
                  <c:v>44321</c:v>
                </c:pt>
                <c:pt idx="66">
                  <c:v>44322</c:v>
                </c:pt>
                <c:pt idx="67">
                  <c:v>44323</c:v>
                </c:pt>
                <c:pt idx="68">
                  <c:v>44324</c:v>
                </c:pt>
                <c:pt idx="69">
                  <c:v>44325</c:v>
                </c:pt>
                <c:pt idx="70">
                  <c:v>44326</c:v>
                </c:pt>
                <c:pt idx="71">
                  <c:v>44327</c:v>
                </c:pt>
                <c:pt idx="72">
                  <c:v>44328</c:v>
                </c:pt>
                <c:pt idx="73">
                  <c:v>44329</c:v>
                </c:pt>
                <c:pt idx="74">
                  <c:v>44330</c:v>
                </c:pt>
                <c:pt idx="75">
                  <c:v>44331</c:v>
                </c:pt>
                <c:pt idx="76">
                  <c:v>44332</c:v>
                </c:pt>
                <c:pt idx="77">
                  <c:v>44333</c:v>
                </c:pt>
                <c:pt idx="78">
                  <c:v>44334</c:v>
                </c:pt>
                <c:pt idx="79">
                  <c:v>44335</c:v>
                </c:pt>
                <c:pt idx="80">
                  <c:v>44336</c:v>
                </c:pt>
                <c:pt idx="81">
                  <c:v>44337</c:v>
                </c:pt>
                <c:pt idx="82">
                  <c:v>44338</c:v>
                </c:pt>
                <c:pt idx="83">
                  <c:v>44339</c:v>
                </c:pt>
                <c:pt idx="84">
                  <c:v>44340</c:v>
                </c:pt>
                <c:pt idx="85">
                  <c:v>44341</c:v>
                </c:pt>
                <c:pt idx="86">
                  <c:v>44342</c:v>
                </c:pt>
                <c:pt idx="87">
                  <c:v>44343</c:v>
                </c:pt>
                <c:pt idx="88">
                  <c:v>44344</c:v>
                </c:pt>
                <c:pt idx="89">
                  <c:v>44345</c:v>
                </c:pt>
                <c:pt idx="90">
                  <c:v>44346</c:v>
                </c:pt>
                <c:pt idx="91">
                  <c:v>44347</c:v>
                </c:pt>
                <c:pt idx="92">
                  <c:v>44348</c:v>
                </c:pt>
                <c:pt idx="93">
                  <c:v>44349</c:v>
                </c:pt>
                <c:pt idx="94">
                  <c:v>44350</c:v>
                </c:pt>
                <c:pt idx="95">
                  <c:v>44351</c:v>
                </c:pt>
                <c:pt idx="96">
                  <c:v>44352</c:v>
                </c:pt>
                <c:pt idx="97">
                  <c:v>44353</c:v>
                </c:pt>
                <c:pt idx="98">
                  <c:v>44354</c:v>
                </c:pt>
                <c:pt idx="99">
                  <c:v>44355</c:v>
                </c:pt>
                <c:pt idx="100">
                  <c:v>44356</c:v>
                </c:pt>
                <c:pt idx="101">
                  <c:v>44357</c:v>
                </c:pt>
                <c:pt idx="102">
                  <c:v>44358</c:v>
                </c:pt>
                <c:pt idx="103">
                  <c:v>44359</c:v>
                </c:pt>
                <c:pt idx="104">
                  <c:v>44360</c:v>
                </c:pt>
                <c:pt idx="105">
                  <c:v>44361</c:v>
                </c:pt>
                <c:pt idx="106">
                  <c:v>44362</c:v>
                </c:pt>
                <c:pt idx="107">
                  <c:v>44363</c:v>
                </c:pt>
                <c:pt idx="108">
                  <c:v>44364</c:v>
                </c:pt>
                <c:pt idx="109">
                  <c:v>44365</c:v>
                </c:pt>
                <c:pt idx="110">
                  <c:v>44366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1851</c:v>
                </c:pt>
                <c:pt idx="1">
                  <c:v>2399</c:v>
                </c:pt>
                <c:pt idx="2">
                  <c:v>2167</c:v>
                </c:pt>
                <c:pt idx="3">
                  <c:v>2054</c:v>
                </c:pt>
                <c:pt idx="4">
                  <c:v>1877</c:v>
                </c:pt>
                <c:pt idx="5">
                  <c:v>1311</c:v>
                </c:pt>
                <c:pt idx="6">
                  <c:v>644</c:v>
                </c:pt>
                <c:pt idx="7">
                  <c:v>1543</c:v>
                </c:pt>
                <c:pt idx="8">
                  <c:v>1983</c:v>
                </c:pt>
                <c:pt idx="9">
                  <c:v>2017</c:v>
                </c:pt>
                <c:pt idx="10">
                  <c:v>1628</c:v>
                </c:pt>
                <c:pt idx="11">
                  <c:v>2249</c:v>
                </c:pt>
                <c:pt idx="12">
                  <c:v>994</c:v>
                </c:pt>
                <c:pt idx="13">
                  <c:v>541</c:v>
                </c:pt>
                <c:pt idx="14">
                  <c:v>1624</c:v>
                </c:pt>
                <c:pt idx="15">
                  <c:v>2050</c:v>
                </c:pt>
                <c:pt idx="16">
                  <c:v>1787</c:v>
                </c:pt>
                <c:pt idx="17">
                  <c:v>1585</c:v>
                </c:pt>
                <c:pt idx="18">
                  <c:v>1430</c:v>
                </c:pt>
                <c:pt idx="19">
                  <c:v>843</c:v>
                </c:pt>
                <c:pt idx="20">
                  <c:v>440</c:v>
                </c:pt>
                <c:pt idx="21">
                  <c:v>1211</c:v>
                </c:pt>
                <c:pt idx="22">
                  <c:v>1621</c:v>
                </c:pt>
                <c:pt idx="23">
                  <c:v>1320</c:v>
                </c:pt>
                <c:pt idx="24">
                  <c:v>1288</c:v>
                </c:pt>
                <c:pt idx="25">
                  <c:v>1176</c:v>
                </c:pt>
                <c:pt idx="26">
                  <c:v>641</c:v>
                </c:pt>
                <c:pt idx="27">
                  <c:v>326</c:v>
                </c:pt>
                <c:pt idx="28">
                  <c:v>1117</c:v>
                </c:pt>
                <c:pt idx="29">
                  <c:v>1294</c:v>
                </c:pt>
                <c:pt idx="30">
                  <c:v>1193</c:v>
                </c:pt>
                <c:pt idx="31">
                  <c:v>989</c:v>
                </c:pt>
                <c:pt idx="32">
                  <c:v>550</c:v>
                </c:pt>
                <c:pt idx="33">
                  <c:v>377</c:v>
                </c:pt>
                <c:pt idx="34">
                  <c:v>327</c:v>
                </c:pt>
                <c:pt idx="35">
                  <c:v>290</c:v>
                </c:pt>
                <c:pt idx="36">
                  <c:v>816</c:v>
                </c:pt>
                <c:pt idx="37">
                  <c:v>980</c:v>
                </c:pt>
                <c:pt idx="38">
                  <c:v>782</c:v>
                </c:pt>
                <c:pt idx="39">
                  <c:v>716</c:v>
                </c:pt>
                <c:pt idx="40">
                  <c:v>363</c:v>
                </c:pt>
                <c:pt idx="41">
                  <c:v>202</c:v>
                </c:pt>
                <c:pt idx="42">
                  <c:v>578</c:v>
                </c:pt>
                <c:pt idx="43">
                  <c:v>690</c:v>
                </c:pt>
                <c:pt idx="44">
                  <c:v>581</c:v>
                </c:pt>
                <c:pt idx="45">
                  <c:v>468</c:v>
                </c:pt>
                <c:pt idx="46">
                  <c:v>513</c:v>
                </c:pt>
                <c:pt idx="47">
                  <c:v>245</c:v>
                </c:pt>
                <c:pt idx="48">
                  <c:v>144</c:v>
                </c:pt>
                <c:pt idx="49">
                  <c:v>469</c:v>
                </c:pt>
                <c:pt idx="50">
                  <c:v>490</c:v>
                </c:pt>
                <c:pt idx="51">
                  <c:v>412</c:v>
                </c:pt>
                <c:pt idx="52">
                  <c:v>400</c:v>
                </c:pt>
                <c:pt idx="53">
                  <c:v>335</c:v>
                </c:pt>
                <c:pt idx="54">
                  <c:v>156</c:v>
                </c:pt>
                <c:pt idx="55">
                  <c:v>120</c:v>
                </c:pt>
                <c:pt idx="56">
                  <c:v>371</c:v>
                </c:pt>
                <c:pt idx="57">
                  <c:v>384</c:v>
                </c:pt>
                <c:pt idx="58">
                  <c:v>330</c:v>
                </c:pt>
                <c:pt idx="59">
                  <c:v>302</c:v>
                </c:pt>
                <c:pt idx="60">
                  <c:v>303</c:v>
                </c:pt>
                <c:pt idx="61">
                  <c:v>172</c:v>
                </c:pt>
                <c:pt idx="62">
                  <c:v>86</c:v>
                </c:pt>
                <c:pt idx="63">
                  <c:v>299</c:v>
                </c:pt>
                <c:pt idx="64">
                  <c:v>310</c:v>
                </c:pt>
                <c:pt idx="65">
                  <c:v>251</c:v>
                </c:pt>
                <c:pt idx="66">
                  <c:v>223</c:v>
                </c:pt>
                <c:pt idx="67">
                  <c:v>179</c:v>
                </c:pt>
                <c:pt idx="68">
                  <c:v>91</c:v>
                </c:pt>
                <c:pt idx="69">
                  <c:v>56</c:v>
                </c:pt>
                <c:pt idx="70">
                  <c:v>214</c:v>
                </c:pt>
                <c:pt idx="71">
                  <c:v>184</c:v>
                </c:pt>
                <c:pt idx="72">
                  <c:v>133</c:v>
                </c:pt>
                <c:pt idx="73">
                  <c:v>155</c:v>
                </c:pt>
                <c:pt idx="74">
                  <c:v>132</c:v>
                </c:pt>
                <c:pt idx="75">
                  <c:v>70</c:v>
                </c:pt>
                <c:pt idx="76">
                  <c:v>29</c:v>
                </c:pt>
                <c:pt idx="77">
                  <c:v>117</c:v>
                </c:pt>
                <c:pt idx="78">
                  <c:v>139</c:v>
                </c:pt>
                <c:pt idx="79">
                  <c:v>92</c:v>
                </c:pt>
                <c:pt idx="80">
                  <c:v>91</c:v>
                </c:pt>
                <c:pt idx="81">
                  <c:v>76</c:v>
                </c:pt>
                <c:pt idx="82">
                  <c:v>32</c:v>
                </c:pt>
                <c:pt idx="83">
                  <c:v>19</c:v>
                </c:pt>
                <c:pt idx="84">
                  <c:v>68</c:v>
                </c:pt>
                <c:pt idx="85">
                  <c:v>80</c:v>
                </c:pt>
                <c:pt idx="86">
                  <c:v>59</c:v>
                </c:pt>
                <c:pt idx="87">
                  <c:v>48</c:v>
                </c:pt>
                <c:pt idx="88">
                  <c:v>59</c:v>
                </c:pt>
                <c:pt idx="89">
                  <c:v>19</c:v>
                </c:pt>
                <c:pt idx="90">
                  <c:v>12</c:v>
                </c:pt>
                <c:pt idx="91">
                  <c:v>49</c:v>
                </c:pt>
                <c:pt idx="92">
                  <c:v>40</c:v>
                </c:pt>
                <c:pt idx="93">
                  <c:v>32</c:v>
                </c:pt>
                <c:pt idx="94">
                  <c:v>44</c:v>
                </c:pt>
                <c:pt idx="95">
                  <c:v>31</c:v>
                </c:pt>
                <c:pt idx="96">
                  <c:v>9</c:v>
                </c:pt>
                <c:pt idx="97">
                  <c:v>4</c:v>
                </c:pt>
                <c:pt idx="98">
                  <c:v>28</c:v>
                </c:pt>
                <c:pt idx="99">
                  <c:v>23</c:v>
                </c:pt>
                <c:pt idx="100">
                  <c:v>22</c:v>
                </c:pt>
                <c:pt idx="101">
                  <c:v>23</c:v>
                </c:pt>
                <c:pt idx="102">
                  <c:v>9</c:v>
                </c:pt>
                <c:pt idx="103">
                  <c:v>1</c:v>
                </c:pt>
                <c:pt idx="104">
                  <c:v>8</c:v>
                </c:pt>
                <c:pt idx="105">
                  <c:v>16</c:v>
                </c:pt>
                <c:pt idx="106">
                  <c:v>17</c:v>
                </c:pt>
                <c:pt idx="107">
                  <c:v>20</c:v>
                </c:pt>
                <c:pt idx="108">
                  <c:v>11</c:v>
                </c:pt>
                <c:pt idx="109">
                  <c:v>23</c:v>
                </c:pt>
                <c:pt idx="11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EA-4BD4-9376-87441B21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7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  <c:pt idx="61">
                  <c:v>44317</c:v>
                </c:pt>
                <c:pt idx="62">
                  <c:v>44318</c:v>
                </c:pt>
                <c:pt idx="63">
                  <c:v>44319</c:v>
                </c:pt>
                <c:pt idx="64">
                  <c:v>44320</c:v>
                </c:pt>
                <c:pt idx="65">
                  <c:v>44321</c:v>
                </c:pt>
                <c:pt idx="66">
                  <c:v>44322</c:v>
                </c:pt>
                <c:pt idx="67">
                  <c:v>44323</c:v>
                </c:pt>
                <c:pt idx="68">
                  <c:v>44324</c:v>
                </c:pt>
                <c:pt idx="69">
                  <c:v>44325</c:v>
                </c:pt>
                <c:pt idx="70">
                  <c:v>44326</c:v>
                </c:pt>
                <c:pt idx="71">
                  <c:v>44327</c:v>
                </c:pt>
                <c:pt idx="72">
                  <c:v>44328</c:v>
                </c:pt>
                <c:pt idx="73">
                  <c:v>44329</c:v>
                </c:pt>
                <c:pt idx="74">
                  <c:v>44330</c:v>
                </c:pt>
                <c:pt idx="75">
                  <c:v>44331</c:v>
                </c:pt>
                <c:pt idx="76">
                  <c:v>44332</c:v>
                </c:pt>
                <c:pt idx="77">
                  <c:v>44333</c:v>
                </c:pt>
                <c:pt idx="78">
                  <c:v>44334</c:v>
                </c:pt>
                <c:pt idx="79">
                  <c:v>44335</c:v>
                </c:pt>
                <c:pt idx="80">
                  <c:v>44336</c:v>
                </c:pt>
                <c:pt idx="81">
                  <c:v>44337</c:v>
                </c:pt>
                <c:pt idx="82">
                  <c:v>44338</c:v>
                </c:pt>
                <c:pt idx="83">
                  <c:v>44339</c:v>
                </c:pt>
                <c:pt idx="84">
                  <c:v>44340</c:v>
                </c:pt>
                <c:pt idx="85">
                  <c:v>44341</c:v>
                </c:pt>
                <c:pt idx="86">
                  <c:v>44342</c:v>
                </c:pt>
                <c:pt idx="87">
                  <c:v>44343</c:v>
                </c:pt>
                <c:pt idx="88">
                  <c:v>44344</c:v>
                </c:pt>
                <c:pt idx="89">
                  <c:v>44345</c:v>
                </c:pt>
                <c:pt idx="90">
                  <c:v>44346</c:v>
                </c:pt>
                <c:pt idx="91">
                  <c:v>44347</c:v>
                </c:pt>
                <c:pt idx="92">
                  <c:v>44348</c:v>
                </c:pt>
                <c:pt idx="93">
                  <c:v>44349</c:v>
                </c:pt>
                <c:pt idx="94">
                  <c:v>44350</c:v>
                </c:pt>
                <c:pt idx="95">
                  <c:v>44351</c:v>
                </c:pt>
                <c:pt idx="96">
                  <c:v>44352</c:v>
                </c:pt>
                <c:pt idx="97">
                  <c:v>44353</c:v>
                </c:pt>
                <c:pt idx="98">
                  <c:v>44354</c:v>
                </c:pt>
                <c:pt idx="99">
                  <c:v>44355</c:v>
                </c:pt>
                <c:pt idx="100">
                  <c:v>44356</c:v>
                </c:pt>
                <c:pt idx="101">
                  <c:v>44357</c:v>
                </c:pt>
                <c:pt idx="102">
                  <c:v>44358</c:v>
                </c:pt>
                <c:pt idx="103">
                  <c:v>44359</c:v>
                </c:pt>
                <c:pt idx="104">
                  <c:v>44360</c:v>
                </c:pt>
                <c:pt idx="105">
                  <c:v>44361</c:v>
                </c:pt>
                <c:pt idx="106">
                  <c:v>44362</c:v>
                </c:pt>
                <c:pt idx="107">
                  <c:v>44363</c:v>
                </c:pt>
                <c:pt idx="108">
                  <c:v>44364</c:v>
                </c:pt>
                <c:pt idx="109">
                  <c:v>44365</c:v>
                </c:pt>
                <c:pt idx="110">
                  <c:v>44366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773</c:v>
                </c:pt>
                <c:pt idx="1">
                  <c:v>917</c:v>
                </c:pt>
                <c:pt idx="2">
                  <c:v>852</c:v>
                </c:pt>
                <c:pt idx="3">
                  <c:v>747</c:v>
                </c:pt>
                <c:pt idx="4">
                  <c:v>713</c:v>
                </c:pt>
                <c:pt idx="5">
                  <c:v>532</c:v>
                </c:pt>
                <c:pt idx="6">
                  <c:v>294</c:v>
                </c:pt>
                <c:pt idx="7">
                  <c:v>586</c:v>
                </c:pt>
                <c:pt idx="8">
                  <c:v>736</c:v>
                </c:pt>
                <c:pt idx="9">
                  <c:v>752</c:v>
                </c:pt>
                <c:pt idx="10">
                  <c:v>640</c:v>
                </c:pt>
                <c:pt idx="11">
                  <c:v>854</c:v>
                </c:pt>
                <c:pt idx="12">
                  <c:v>384</c:v>
                </c:pt>
                <c:pt idx="13">
                  <c:v>220</c:v>
                </c:pt>
                <c:pt idx="14">
                  <c:v>663</c:v>
                </c:pt>
                <c:pt idx="15">
                  <c:v>766</c:v>
                </c:pt>
                <c:pt idx="16">
                  <c:v>672</c:v>
                </c:pt>
                <c:pt idx="17">
                  <c:v>601</c:v>
                </c:pt>
                <c:pt idx="18">
                  <c:v>526</c:v>
                </c:pt>
                <c:pt idx="19">
                  <c:v>352</c:v>
                </c:pt>
                <c:pt idx="20">
                  <c:v>193</c:v>
                </c:pt>
                <c:pt idx="21">
                  <c:v>462</c:v>
                </c:pt>
                <c:pt idx="22">
                  <c:v>618</c:v>
                </c:pt>
                <c:pt idx="23">
                  <c:v>486</c:v>
                </c:pt>
                <c:pt idx="24">
                  <c:v>482</c:v>
                </c:pt>
                <c:pt idx="25">
                  <c:v>439</c:v>
                </c:pt>
                <c:pt idx="26">
                  <c:v>267</c:v>
                </c:pt>
                <c:pt idx="27">
                  <c:v>132</c:v>
                </c:pt>
                <c:pt idx="28">
                  <c:v>427</c:v>
                </c:pt>
                <c:pt idx="29">
                  <c:v>466</c:v>
                </c:pt>
                <c:pt idx="30">
                  <c:v>428</c:v>
                </c:pt>
                <c:pt idx="31">
                  <c:v>360</c:v>
                </c:pt>
                <c:pt idx="32">
                  <c:v>216</c:v>
                </c:pt>
                <c:pt idx="33">
                  <c:v>151</c:v>
                </c:pt>
                <c:pt idx="34">
                  <c:v>150</c:v>
                </c:pt>
                <c:pt idx="35">
                  <c:v>129</c:v>
                </c:pt>
                <c:pt idx="36">
                  <c:v>303</c:v>
                </c:pt>
                <c:pt idx="37">
                  <c:v>307</c:v>
                </c:pt>
                <c:pt idx="38">
                  <c:v>278</c:v>
                </c:pt>
                <c:pt idx="39">
                  <c:v>274</c:v>
                </c:pt>
                <c:pt idx="40">
                  <c:v>131</c:v>
                </c:pt>
                <c:pt idx="41">
                  <c:v>81</c:v>
                </c:pt>
                <c:pt idx="42">
                  <c:v>215</c:v>
                </c:pt>
                <c:pt idx="43">
                  <c:v>245</c:v>
                </c:pt>
                <c:pt idx="44">
                  <c:v>233</c:v>
                </c:pt>
                <c:pt idx="45">
                  <c:v>195</c:v>
                </c:pt>
                <c:pt idx="46">
                  <c:v>193</c:v>
                </c:pt>
                <c:pt idx="47">
                  <c:v>89</c:v>
                </c:pt>
                <c:pt idx="48">
                  <c:v>64</c:v>
                </c:pt>
                <c:pt idx="49">
                  <c:v>170</c:v>
                </c:pt>
                <c:pt idx="50">
                  <c:v>169</c:v>
                </c:pt>
                <c:pt idx="51">
                  <c:v>145</c:v>
                </c:pt>
                <c:pt idx="52">
                  <c:v>148</c:v>
                </c:pt>
                <c:pt idx="53">
                  <c:v>100</c:v>
                </c:pt>
                <c:pt idx="54">
                  <c:v>53</c:v>
                </c:pt>
                <c:pt idx="55">
                  <c:v>48</c:v>
                </c:pt>
                <c:pt idx="56">
                  <c:v>137</c:v>
                </c:pt>
                <c:pt idx="57">
                  <c:v>144</c:v>
                </c:pt>
                <c:pt idx="58">
                  <c:v>108</c:v>
                </c:pt>
                <c:pt idx="59">
                  <c:v>91</c:v>
                </c:pt>
                <c:pt idx="60">
                  <c:v>100</c:v>
                </c:pt>
                <c:pt idx="61">
                  <c:v>65</c:v>
                </c:pt>
                <c:pt idx="62">
                  <c:v>38</c:v>
                </c:pt>
                <c:pt idx="63">
                  <c:v>88</c:v>
                </c:pt>
                <c:pt idx="64">
                  <c:v>91</c:v>
                </c:pt>
                <c:pt idx="65">
                  <c:v>84</c:v>
                </c:pt>
                <c:pt idx="66">
                  <c:v>79</c:v>
                </c:pt>
                <c:pt idx="67">
                  <c:v>59</c:v>
                </c:pt>
                <c:pt idx="68">
                  <c:v>32</c:v>
                </c:pt>
                <c:pt idx="69">
                  <c:v>22</c:v>
                </c:pt>
                <c:pt idx="70">
                  <c:v>84</c:v>
                </c:pt>
                <c:pt idx="71">
                  <c:v>58</c:v>
                </c:pt>
                <c:pt idx="72">
                  <c:v>38</c:v>
                </c:pt>
                <c:pt idx="73">
                  <c:v>50</c:v>
                </c:pt>
                <c:pt idx="74">
                  <c:v>45</c:v>
                </c:pt>
                <c:pt idx="75">
                  <c:v>25</c:v>
                </c:pt>
                <c:pt idx="76">
                  <c:v>11</c:v>
                </c:pt>
                <c:pt idx="77">
                  <c:v>46</c:v>
                </c:pt>
                <c:pt idx="78">
                  <c:v>53</c:v>
                </c:pt>
                <c:pt idx="79">
                  <c:v>45</c:v>
                </c:pt>
                <c:pt idx="80">
                  <c:v>43</c:v>
                </c:pt>
                <c:pt idx="81">
                  <c:v>30</c:v>
                </c:pt>
                <c:pt idx="82">
                  <c:v>16</c:v>
                </c:pt>
                <c:pt idx="83">
                  <c:v>9</c:v>
                </c:pt>
                <c:pt idx="84">
                  <c:v>28</c:v>
                </c:pt>
                <c:pt idx="85">
                  <c:v>34</c:v>
                </c:pt>
                <c:pt idx="86">
                  <c:v>29</c:v>
                </c:pt>
                <c:pt idx="87">
                  <c:v>21</c:v>
                </c:pt>
                <c:pt idx="88">
                  <c:v>17</c:v>
                </c:pt>
                <c:pt idx="89">
                  <c:v>8</c:v>
                </c:pt>
                <c:pt idx="90">
                  <c:v>7</c:v>
                </c:pt>
                <c:pt idx="91">
                  <c:v>25</c:v>
                </c:pt>
                <c:pt idx="92">
                  <c:v>13</c:v>
                </c:pt>
                <c:pt idx="93">
                  <c:v>11</c:v>
                </c:pt>
                <c:pt idx="94">
                  <c:v>17</c:v>
                </c:pt>
                <c:pt idx="95">
                  <c:v>13</c:v>
                </c:pt>
                <c:pt idx="96">
                  <c:v>5</c:v>
                </c:pt>
                <c:pt idx="97">
                  <c:v>2</c:v>
                </c:pt>
                <c:pt idx="98">
                  <c:v>12</c:v>
                </c:pt>
                <c:pt idx="99">
                  <c:v>12</c:v>
                </c:pt>
                <c:pt idx="100">
                  <c:v>7</c:v>
                </c:pt>
                <c:pt idx="101">
                  <c:v>11</c:v>
                </c:pt>
                <c:pt idx="102">
                  <c:v>3</c:v>
                </c:pt>
                <c:pt idx="103">
                  <c:v>1</c:v>
                </c:pt>
                <c:pt idx="104">
                  <c:v>3</c:v>
                </c:pt>
                <c:pt idx="105">
                  <c:v>11</c:v>
                </c:pt>
                <c:pt idx="106">
                  <c:v>6</c:v>
                </c:pt>
                <c:pt idx="107">
                  <c:v>15</c:v>
                </c:pt>
                <c:pt idx="108">
                  <c:v>10</c:v>
                </c:pt>
                <c:pt idx="109">
                  <c:v>10</c:v>
                </c:pt>
                <c:pt idx="11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0F-4B56-9C79-478BA9376E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CB$7</c:f>
              <c:numCache>
                <c:formatCode>General</c:formatCode>
                <c:ptCount val="79"/>
                <c:pt idx="0">
                  <c:v>2454</c:v>
                </c:pt>
                <c:pt idx="1">
                  <c:v>2479</c:v>
                </c:pt>
                <c:pt idx="2">
                  <c:v>2668</c:v>
                </c:pt>
                <c:pt idx="3">
                  <c:v>2518</c:v>
                </c:pt>
                <c:pt idx="4">
                  <c:v>2344</c:v>
                </c:pt>
                <c:pt idx="5">
                  <c:v>2213</c:v>
                </c:pt>
                <c:pt idx="6">
                  <c:v>2119</c:v>
                </c:pt>
                <c:pt idx="7">
                  <c:v>1881</c:v>
                </c:pt>
                <c:pt idx="8">
                  <c:v>1862</c:v>
                </c:pt>
                <c:pt idx="9">
                  <c:v>1978</c:v>
                </c:pt>
                <c:pt idx="10">
                  <c:v>1820</c:v>
                </c:pt>
                <c:pt idx="11">
                  <c:v>1708</c:v>
                </c:pt>
                <c:pt idx="12">
                  <c:v>1610</c:v>
                </c:pt>
                <c:pt idx="13">
                  <c:v>1521</c:v>
                </c:pt>
                <c:pt idx="14">
                  <c:v>1323</c:v>
                </c:pt>
                <c:pt idx="15">
                  <c:v>1310</c:v>
                </c:pt>
                <c:pt idx="16">
                  <c:v>1390</c:v>
                </c:pt>
                <c:pt idx="17">
                  <c:v>1254</c:v>
                </c:pt>
                <c:pt idx="18">
                  <c:v>1146</c:v>
                </c:pt>
                <c:pt idx="19">
                  <c:v>1055</c:v>
                </c:pt>
                <c:pt idx="20">
                  <c:v>1008</c:v>
                </c:pt>
                <c:pt idx="21">
                  <c:v>865</c:v>
                </c:pt>
                <c:pt idx="22">
                  <c:v>846</c:v>
                </c:pt>
                <c:pt idx="23">
                  <c:v>877</c:v>
                </c:pt>
                <c:pt idx="24">
                  <c:v>787</c:v>
                </c:pt>
                <c:pt idx="25">
                  <c:v>760</c:v>
                </c:pt>
                <c:pt idx="26">
                  <c:v>668</c:v>
                </c:pt>
                <c:pt idx="27">
                  <c:v>612</c:v>
                </c:pt>
                <c:pt idx="28">
                  <c:v>513</c:v>
                </c:pt>
                <c:pt idx="29">
                  <c:v>514</c:v>
                </c:pt>
                <c:pt idx="30">
                  <c:v>552</c:v>
                </c:pt>
                <c:pt idx="31">
                  <c:v>477</c:v>
                </c:pt>
                <c:pt idx="32">
                  <c:v>441</c:v>
                </c:pt>
                <c:pt idx="33">
                  <c:v>393</c:v>
                </c:pt>
                <c:pt idx="34">
                  <c:v>364</c:v>
                </c:pt>
                <c:pt idx="35">
                  <c:v>302</c:v>
                </c:pt>
                <c:pt idx="36">
                  <c:v>300</c:v>
                </c:pt>
                <c:pt idx="37">
                  <c:v>302</c:v>
                </c:pt>
                <c:pt idx="38">
                  <c:v>282</c:v>
                </c:pt>
                <c:pt idx="39">
                  <c:v>252</c:v>
                </c:pt>
                <c:pt idx="40">
                  <c:v>230</c:v>
                </c:pt>
                <c:pt idx="41">
                  <c:v>182</c:v>
                </c:pt>
                <c:pt idx="42">
                  <c:v>155</c:v>
                </c:pt>
                <c:pt idx="43">
                  <c:v>149</c:v>
                </c:pt>
                <c:pt idx="44">
                  <c:v>165</c:v>
                </c:pt>
                <c:pt idx="45">
                  <c:v>137</c:v>
                </c:pt>
                <c:pt idx="46">
                  <c:v>115</c:v>
                </c:pt>
                <c:pt idx="47">
                  <c:v>106</c:v>
                </c:pt>
                <c:pt idx="48">
                  <c:v>97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14-4A00-9B4C-9F8EEC1A31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CB$2</c:f>
              <c:numCache>
                <c:formatCode>General</c:formatCode>
                <c:ptCount val="79"/>
                <c:pt idx="31">
                  <c:v>502.82615099999998</c:v>
                </c:pt>
                <c:pt idx="32">
                  <c:v>465.44454500000001</c:v>
                </c:pt>
                <c:pt idx="33">
                  <c:v>430.634704</c:v>
                </c:pt>
                <c:pt idx="34">
                  <c:v>397.92441600000001</c:v>
                </c:pt>
                <c:pt idx="35">
                  <c:v>367.65085099999999</c:v>
                </c:pt>
                <c:pt idx="36">
                  <c:v>340.55668700000001</c:v>
                </c:pt>
                <c:pt idx="37">
                  <c:v>315.42744900000002</c:v>
                </c:pt>
                <c:pt idx="38">
                  <c:v>291.20712900000001</c:v>
                </c:pt>
                <c:pt idx="39">
                  <c:v>268.36195900000001</c:v>
                </c:pt>
                <c:pt idx="40">
                  <c:v>247.00770700000001</c:v>
                </c:pt>
                <c:pt idx="41">
                  <c:v>227.118696</c:v>
                </c:pt>
                <c:pt idx="42">
                  <c:v>209.12903299999999</c:v>
                </c:pt>
                <c:pt idx="43">
                  <c:v>192.87002899999999</c:v>
                </c:pt>
                <c:pt idx="44">
                  <c:v>177.56007700000001</c:v>
                </c:pt>
                <c:pt idx="45">
                  <c:v>162.808536</c:v>
                </c:pt>
                <c:pt idx="46">
                  <c:v>149.02484000000001</c:v>
                </c:pt>
                <c:pt idx="47">
                  <c:v>136.230896</c:v>
                </c:pt>
                <c:pt idx="48">
                  <c:v>124.359826</c:v>
                </c:pt>
                <c:pt idx="49">
                  <c:v>113.33568200000001</c:v>
                </c:pt>
                <c:pt idx="50">
                  <c:v>103.20351100000001</c:v>
                </c:pt>
                <c:pt idx="51">
                  <c:v>93.612288500000005</c:v>
                </c:pt>
                <c:pt idx="52">
                  <c:v>84.605095500000004</c:v>
                </c:pt>
                <c:pt idx="53">
                  <c:v>76.208644899999996</c:v>
                </c:pt>
                <c:pt idx="54">
                  <c:v>68.342205800000002</c:v>
                </c:pt>
                <c:pt idx="55">
                  <c:v>60.959015399999998</c:v>
                </c:pt>
                <c:pt idx="56">
                  <c:v>54.053853699999998</c:v>
                </c:pt>
                <c:pt idx="57">
                  <c:v>47.655241400000001</c:v>
                </c:pt>
                <c:pt idx="58">
                  <c:v>41.5613186</c:v>
                </c:pt>
                <c:pt idx="59">
                  <c:v>35.954308699999999</c:v>
                </c:pt>
                <c:pt idx="60">
                  <c:v>30.677593600000002</c:v>
                </c:pt>
                <c:pt idx="61">
                  <c:v>25.6784535</c:v>
                </c:pt>
                <c:pt idx="62">
                  <c:v>20.964634799999999</c:v>
                </c:pt>
                <c:pt idx="63">
                  <c:v>16.632971999999999</c:v>
                </c:pt>
                <c:pt idx="64">
                  <c:v>12.5675375</c:v>
                </c:pt>
                <c:pt idx="65">
                  <c:v>8.7113642900000006</c:v>
                </c:pt>
                <c:pt idx="66">
                  <c:v>5.1209448100000001</c:v>
                </c:pt>
                <c:pt idx="67">
                  <c:v>1.79776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B14-4A00-9B4C-9F8EEC1A31E2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CB$3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B14-4A00-9B4C-9F8EEC1A31E2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CB$4</c:f>
              <c:numCache>
                <c:formatCode>General</c:formatCode>
                <c:ptCount val="79"/>
                <c:pt idx="31">
                  <c:v>503.97789799999998</c:v>
                </c:pt>
                <c:pt idx="32">
                  <c:v>468.53803399999998</c:v>
                </c:pt>
                <c:pt idx="33">
                  <c:v>436.12426799999997</c:v>
                </c:pt>
                <c:pt idx="34">
                  <c:v>406.05948000000001</c:v>
                </c:pt>
                <c:pt idx="35">
                  <c:v>378.745135</c:v>
                </c:pt>
                <c:pt idx="36">
                  <c:v>355.05964699999998</c:v>
                </c:pt>
                <c:pt idx="37">
                  <c:v>333.873446</c:v>
                </c:pt>
                <c:pt idx="38">
                  <c:v>314.05975100000001</c:v>
                </c:pt>
                <c:pt idx="39">
                  <c:v>295.87128999999999</c:v>
                </c:pt>
                <c:pt idx="40">
                  <c:v>279.32502299999999</c:v>
                </c:pt>
                <c:pt idx="41">
                  <c:v>264.31671299999999</c:v>
                </c:pt>
                <c:pt idx="42">
                  <c:v>251.335733</c:v>
                </c:pt>
                <c:pt idx="43">
                  <c:v>240.19736499999999</c:v>
                </c:pt>
                <c:pt idx="44">
                  <c:v>230.030765</c:v>
                </c:pt>
                <c:pt idx="45">
                  <c:v>220.364904</c:v>
                </c:pt>
                <c:pt idx="46">
                  <c:v>211.496477</c:v>
                </c:pt>
                <c:pt idx="47">
                  <c:v>203.44413700000001</c:v>
                </c:pt>
                <c:pt idx="48">
                  <c:v>196.176254</c:v>
                </c:pt>
                <c:pt idx="49">
                  <c:v>189.55929800000001</c:v>
                </c:pt>
                <c:pt idx="50">
                  <c:v>183.621837</c:v>
                </c:pt>
                <c:pt idx="51">
                  <c:v>178.03615500000001</c:v>
                </c:pt>
                <c:pt idx="52">
                  <c:v>172.78086300000001</c:v>
                </c:pt>
                <c:pt idx="53">
                  <c:v>167.87358499999999</c:v>
                </c:pt>
                <c:pt idx="54">
                  <c:v>163.27744000000001</c:v>
                </c:pt>
                <c:pt idx="55">
                  <c:v>158.93407300000001</c:v>
                </c:pt>
                <c:pt idx="56">
                  <c:v>154.84663399999999</c:v>
                </c:pt>
                <c:pt idx="57">
                  <c:v>151.021377</c:v>
                </c:pt>
                <c:pt idx="58">
                  <c:v>147.293238</c:v>
                </c:pt>
                <c:pt idx="59">
                  <c:v>143.79862800000001</c:v>
                </c:pt>
                <c:pt idx="60">
                  <c:v>140.449859</c:v>
                </c:pt>
                <c:pt idx="61">
                  <c:v>137.18829700000001</c:v>
                </c:pt>
                <c:pt idx="62">
                  <c:v>134.031327</c:v>
                </c:pt>
                <c:pt idx="63">
                  <c:v>131.055466</c:v>
                </c:pt>
                <c:pt idx="64">
                  <c:v>128.18436600000001</c:v>
                </c:pt>
                <c:pt idx="65">
                  <c:v>125.379295</c:v>
                </c:pt>
                <c:pt idx="66">
                  <c:v>122.677806</c:v>
                </c:pt>
                <c:pt idx="67">
                  <c:v>120.056788</c:v>
                </c:pt>
                <c:pt idx="68">
                  <c:v>117.529465</c:v>
                </c:pt>
                <c:pt idx="69">
                  <c:v>115.06716299999999</c:v>
                </c:pt>
                <c:pt idx="70">
                  <c:v>112.695024</c:v>
                </c:pt>
                <c:pt idx="71">
                  <c:v>110.380804</c:v>
                </c:pt>
                <c:pt idx="72">
                  <c:v>108.10055800000001</c:v>
                </c:pt>
                <c:pt idx="73">
                  <c:v>105.885927</c:v>
                </c:pt>
                <c:pt idx="74">
                  <c:v>103.74872999999999</c:v>
                </c:pt>
                <c:pt idx="75">
                  <c:v>101.661261</c:v>
                </c:pt>
                <c:pt idx="76">
                  <c:v>99.581150800000003</c:v>
                </c:pt>
                <c:pt idx="77">
                  <c:v>97.614035599999994</c:v>
                </c:pt>
                <c:pt idx="78">
                  <c:v>95.6641618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B14-4A00-9B4C-9F8EEC1A31E2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CB$6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B14-4A00-9B4C-9F8EEC1A31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CB$7</c:f>
              <c:numCache>
                <c:formatCode>General</c:formatCode>
                <c:ptCount val="79"/>
                <c:pt idx="0">
                  <c:v>553</c:v>
                </c:pt>
                <c:pt idx="1">
                  <c:v>558</c:v>
                </c:pt>
                <c:pt idx="2">
                  <c:v>563</c:v>
                </c:pt>
                <c:pt idx="3">
                  <c:v>542</c:v>
                </c:pt>
                <c:pt idx="4">
                  <c:v>500</c:v>
                </c:pt>
                <c:pt idx="5">
                  <c:v>465</c:v>
                </c:pt>
                <c:pt idx="6">
                  <c:v>441</c:v>
                </c:pt>
                <c:pt idx="7">
                  <c:v>413</c:v>
                </c:pt>
                <c:pt idx="8">
                  <c:v>419</c:v>
                </c:pt>
                <c:pt idx="9">
                  <c:v>425</c:v>
                </c:pt>
                <c:pt idx="10">
                  <c:v>401</c:v>
                </c:pt>
                <c:pt idx="11">
                  <c:v>376</c:v>
                </c:pt>
                <c:pt idx="12">
                  <c:v>366</c:v>
                </c:pt>
                <c:pt idx="13">
                  <c:v>339</c:v>
                </c:pt>
                <c:pt idx="14">
                  <c:v>306</c:v>
                </c:pt>
                <c:pt idx="15">
                  <c:v>301</c:v>
                </c:pt>
                <c:pt idx="16">
                  <c:v>293</c:v>
                </c:pt>
                <c:pt idx="17">
                  <c:v>277</c:v>
                </c:pt>
                <c:pt idx="18">
                  <c:v>247</c:v>
                </c:pt>
                <c:pt idx="19">
                  <c:v>215</c:v>
                </c:pt>
                <c:pt idx="20">
                  <c:v>190</c:v>
                </c:pt>
                <c:pt idx="21">
                  <c:v>186</c:v>
                </c:pt>
                <c:pt idx="22">
                  <c:v>184</c:v>
                </c:pt>
                <c:pt idx="23">
                  <c:v>179</c:v>
                </c:pt>
                <c:pt idx="24">
                  <c:v>159</c:v>
                </c:pt>
                <c:pt idx="25">
                  <c:v>152</c:v>
                </c:pt>
                <c:pt idx="26">
                  <c:v>143</c:v>
                </c:pt>
                <c:pt idx="27">
                  <c:v>124</c:v>
                </c:pt>
                <c:pt idx="28">
                  <c:v>111</c:v>
                </c:pt>
                <c:pt idx="29">
                  <c:v>111</c:v>
                </c:pt>
                <c:pt idx="30">
                  <c:v>116</c:v>
                </c:pt>
                <c:pt idx="31">
                  <c:v>97</c:v>
                </c:pt>
                <c:pt idx="32">
                  <c:v>89</c:v>
                </c:pt>
                <c:pt idx="33">
                  <c:v>83</c:v>
                </c:pt>
                <c:pt idx="34">
                  <c:v>69</c:v>
                </c:pt>
                <c:pt idx="35">
                  <c:v>58</c:v>
                </c:pt>
                <c:pt idx="36">
                  <c:v>58</c:v>
                </c:pt>
                <c:pt idx="37">
                  <c:v>57</c:v>
                </c:pt>
                <c:pt idx="38">
                  <c:v>58</c:v>
                </c:pt>
                <c:pt idx="39">
                  <c:v>53</c:v>
                </c:pt>
                <c:pt idx="40">
                  <c:v>50</c:v>
                </c:pt>
                <c:pt idx="41">
                  <c:v>36</c:v>
                </c:pt>
                <c:pt idx="42">
                  <c:v>35</c:v>
                </c:pt>
                <c:pt idx="43">
                  <c:v>33</c:v>
                </c:pt>
                <c:pt idx="44">
                  <c:v>35</c:v>
                </c:pt>
                <c:pt idx="45">
                  <c:v>24</c:v>
                </c:pt>
                <c:pt idx="46">
                  <c:v>21</c:v>
                </c:pt>
                <c:pt idx="47">
                  <c:v>20</c:v>
                </c:pt>
                <c:pt idx="48">
                  <c:v>18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A9-4351-9C12-604784CC28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CB$2</c:f>
              <c:numCache>
                <c:formatCode>General</c:formatCode>
                <c:ptCount val="79"/>
                <c:pt idx="31">
                  <c:v>108.216054</c:v>
                </c:pt>
                <c:pt idx="32">
                  <c:v>99.791412100000002</c:v>
                </c:pt>
                <c:pt idx="33">
                  <c:v>91.971402699999999</c:v>
                </c:pt>
                <c:pt idx="34">
                  <c:v>84.482604600000002</c:v>
                </c:pt>
                <c:pt idx="35">
                  <c:v>77.506805099999994</c:v>
                </c:pt>
                <c:pt idx="36">
                  <c:v>71.164896799999994</c:v>
                </c:pt>
                <c:pt idx="37">
                  <c:v>65.243038799999994</c:v>
                </c:pt>
                <c:pt idx="38">
                  <c:v>59.682898799999997</c:v>
                </c:pt>
                <c:pt idx="39">
                  <c:v>54.492189199999999</c:v>
                </c:pt>
                <c:pt idx="40">
                  <c:v>49.613094099999998</c:v>
                </c:pt>
                <c:pt idx="41">
                  <c:v>44.965345200000002</c:v>
                </c:pt>
                <c:pt idx="42">
                  <c:v>40.667104000000002</c:v>
                </c:pt>
                <c:pt idx="43">
                  <c:v>36.778024500000001</c:v>
                </c:pt>
                <c:pt idx="44">
                  <c:v>33.040102699999998</c:v>
                </c:pt>
                <c:pt idx="45">
                  <c:v>29.563642999999999</c:v>
                </c:pt>
                <c:pt idx="46">
                  <c:v>26.3252594</c:v>
                </c:pt>
                <c:pt idx="47">
                  <c:v>23.140514199999998</c:v>
                </c:pt>
                <c:pt idx="48">
                  <c:v>20.267273400000001</c:v>
                </c:pt>
                <c:pt idx="49">
                  <c:v>17.5508977</c:v>
                </c:pt>
                <c:pt idx="50">
                  <c:v>14.9197281</c:v>
                </c:pt>
                <c:pt idx="51">
                  <c:v>12.565903</c:v>
                </c:pt>
                <c:pt idx="52">
                  <c:v>10.253795800000001</c:v>
                </c:pt>
                <c:pt idx="53">
                  <c:v>8.0900785000000006</c:v>
                </c:pt>
                <c:pt idx="54">
                  <c:v>6.04372489</c:v>
                </c:pt>
                <c:pt idx="55">
                  <c:v>4.0957453299999997</c:v>
                </c:pt>
                <c:pt idx="56">
                  <c:v>2.33872692</c:v>
                </c:pt>
                <c:pt idx="57">
                  <c:v>0.62440333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5A9-4351-9C12-604784CC28DD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CB$3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5A9-4351-9C12-604784CC28DD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CB$4</c:f>
              <c:numCache>
                <c:formatCode>General</c:formatCode>
                <c:ptCount val="79"/>
                <c:pt idx="31">
                  <c:v>108.345489</c:v>
                </c:pt>
                <c:pt idx="32">
                  <c:v>100.152281</c:v>
                </c:pt>
                <c:pt idx="33">
                  <c:v>92.641355200000007</c:v>
                </c:pt>
                <c:pt idx="34">
                  <c:v>85.521567200000007</c:v>
                </c:pt>
                <c:pt idx="35">
                  <c:v>78.982847500000005</c:v>
                </c:pt>
                <c:pt idx="36">
                  <c:v>73.160313200000004</c:v>
                </c:pt>
                <c:pt idx="37">
                  <c:v>67.8558132</c:v>
                </c:pt>
                <c:pt idx="38">
                  <c:v>63.006656100000001</c:v>
                </c:pt>
                <c:pt idx="39">
                  <c:v>58.598275000000001</c:v>
                </c:pt>
                <c:pt idx="40">
                  <c:v>54.560571199999998</c:v>
                </c:pt>
                <c:pt idx="41">
                  <c:v>50.801782000000003</c:v>
                </c:pt>
                <c:pt idx="42">
                  <c:v>47.439826799999999</c:v>
                </c:pt>
                <c:pt idx="43">
                  <c:v>44.529173299999997</c:v>
                </c:pt>
                <c:pt idx="44">
                  <c:v>41.797348800000002</c:v>
                </c:pt>
                <c:pt idx="45">
                  <c:v>39.341598599999998</c:v>
                </c:pt>
                <c:pt idx="46">
                  <c:v>37.122095199999997</c:v>
                </c:pt>
                <c:pt idx="47">
                  <c:v>34.948284800000003</c:v>
                </c:pt>
                <c:pt idx="48">
                  <c:v>33.074871799999997</c:v>
                </c:pt>
                <c:pt idx="49">
                  <c:v>31.336528000000001</c:v>
                </c:pt>
                <c:pt idx="50">
                  <c:v>29.655785600000002</c:v>
                </c:pt>
                <c:pt idx="51">
                  <c:v>28.2244359</c:v>
                </c:pt>
                <c:pt idx="52">
                  <c:v>26.796647700000001</c:v>
                </c:pt>
                <c:pt idx="53">
                  <c:v>25.475558700000001</c:v>
                </c:pt>
                <c:pt idx="54">
                  <c:v>24.2320545</c:v>
                </c:pt>
                <c:pt idx="55">
                  <c:v>23.0434758</c:v>
                </c:pt>
                <c:pt idx="56">
                  <c:v>22.001704700000001</c:v>
                </c:pt>
                <c:pt idx="57">
                  <c:v>20.9554407</c:v>
                </c:pt>
                <c:pt idx="58">
                  <c:v>20.001618000000001</c:v>
                </c:pt>
                <c:pt idx="59">
                  <c:v>19.0711145</c:v>
                </c:pt>
                <c:pt idx="60">
                  <c:v>18.204523699999999</c:v>
                </c:pt>
                <c:pt idx="61">
                  <c:v>17.382268400000001</c:v>
                </c:pt>
                <c:pt idx="62">
                  <c:v>16.5664433</c:v>
                </c:pt>
                <c:pt idx="63">
                  <c:v>15.7835763</c:v>
                </c:pt>
                <c:pt idx="64">
                  <c:v>15.0303944</c:v>
                </c:pt>
                <c:pt idx="65">
                  <c:v>14.3266461</c:v>
                </c:pt>
                <c:pt idx="66">
                  <c:v>13.631684</c:v>
                </c:pt>
                <c:pt idx="67">
                  <c:v>12.975114</c:v>
                </c:pt>
                <c:pt idx="68">
                  <c:v>12.34618</c:v>
                </c:pt>
                <c:pt idx="69">
                  <c:v>11.7259191</c:v>
                </c:pt>
                <c:pt idx="70">
                  <c:v>11.1259295</c:v>
                </c:pt>
                <c:pt idx="71">
                  <c:v>10.547388400000001</c:v>
                </c:pt>
                <c:pt idx="72">
                  <c:v>9.9964870399999999</c:v>
                </c:pt>
                <c:pt idx="73">
                  <c:v>9.4551196300000004</c:v>
                </c:pt>
                <c:pt idx="74">
                  <c:v>8.9165794700000003</c:v>
                </c:pt>
                <c:pt idx="75">
                  <c:v>8.4241237699999996</c:v>
                </c:pt>
                <c:pt idx="76">
                  <c:v>7.9186102199999997</c:v>
                </c:pt>
                <c:pt idx="77">
                  <c:v>7.4517250400000004</c:v>
                </c:pt>
                <c:pt idx="78">
                  <c:v>6.98613533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5A9-4351-9C12-604784CC28DD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CB$6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5A9-4351-9C12-604784CC28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7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588-4EE8-8F6F-CE2F54B51220}"/>
                </c:ext>
              </c:extLst>
            </c:dLbl>
            <c:dLbl>
              <c:idx val="7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F0C-437F-AF06-6849CD78ABD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230</c:f>
              <c:numCache>
                <c:formatCode>m/d/yyyy</c:formatCode>
                <c:ptCount val="180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  <c:pt idx="67">
                  <c:v>44354</c:v>
                </c:pt>
                <c:pt idx="68">
                  <c:v>44355</c:v>
                </c:pt>
                <c:pt idx="69">
                  <c:v>44356</c:v>
                </c:pt>
                <c:pt idx="70">
                  <c:v>44357</c:v>
                </c:pt>
                <c:pt idx="71">
                  <c:v>44358</c:v>
                </c:pt>
                <c:pt idx="72">
                  <c:v>44359</c:v>
                </c:pt>
                <c:pt idx="73">
                  <c:v>44360</c:v>
                </c:pt>
                <c:pt idx="74">
                  <c:v>44361</c:v>
                </c:pt>
                <c:pt idx="75">
                  <c:v>44362</c:v>
                </c:pt>
                <c:pt idx="76">
                  <c:v>44363</c:v>
                </c:pt>
                <c:pt idx="77">
                  <c:v>44364</c:v>
                </c:pt>
                <c:pt idx="78">
                  <c:v>44365</c:v>
                </c:pt>
                <c:pt idx="79">
                  <c:v>44366</c:v>
                </c:pt>
              </c:numCache>
            </c:numRef>
          </c:cat>
          <c:val>
            <c:numRef>
              <c:f>Sheet1!$B$51:$B$230</c:f>
              <c:numCache>
                <c:formatCode>General</c:formatCode>
                <c:ptCount val="180"/>
                <c:pt idx="0">
                  <c:v>24831</c:v>
                </c:pt>
                <c:pt idx="1">
                  <c:v>14627</c:v>
                </c:pt>
                <c:pt idx="2">
                  <c:v>8373</c:v>
                </c:pt>
                <c:pt idx="3">
                  <c:v>7095</c:v>
                </c:pt>
                <c:pt idx="4">
                  <c:v>7596</c:v>
                </c:pt>
                <c:pt idx="5">
                  <c:v>25682</c:v>
                </c:pt>
                <c:pt idx="6">
                  <c:v>27791</c:v>
                </c:pt>
                <c:pt idx="7">
                  <c:v>22340</c:v>
                </c:pt>
                <c:pt idx="8">
                  <c:v>22716</c:v>
                </c:pt>
                <c:pt idx="9">
                  <c:v>11120</c:v>
                </c:pt>
                <c:pt idx="10">
                  <c:v>5863</c:v>
                </c:pt>
                <c:pt idx="11">
                  <c:v>21494</c:v>
                </c:pt>
                <c:pt idx="12">
                  <c:v>24259</c:v>
                </c:pt>
                <c:pt idx="13">
                  <c:v>20995</c:v>
                </c:pt>
                <c:pt idx="14">
                  <c:v>17482</c:v>
                </c:pt>
                <c:pt idx="15">
                  <c:v>19185</c:v>
                </c:pt>
                <c:pt idx="16">
                  <c:v>9756</c:v>
                </c:pt>
                <c:pt idx="17">
                  <c:v>6189</c:v>
                </c:pt>
                <c:pt idx="18">
                  <c:v>21604</c:v>
                </c:pt>
                <c:pt idx="19">
                  <c:v>22293</c:v>
                </c:pt>
                <c:pt idx="20">
                  <c:v>19216</c:v>
                </c:pt>
                <c:pt idx="21">
                  <c:v>18156</c:v>
                </c:pt>
                <c:pt idx="22">
                  <c:v>18224</c:v>
                </c:pt>
                <c:pt idx="23">
                  <c:v>9221</c:v>
                </c:pt>
                <c:pt idx="24">
                  <c:v>5399</c:v>
                </c:pt>
                <c:pt idx="25">
                  <c:v>20925</c:v>
                </c:pt>
                <c:pt idx="26">
                  <c:v>20094</c:v>
                </c:pt>
                <c:pt idx="27">
                  <c:v>19746</c:v>
                </c:pt>
                <c:pt idx="28">
                  <c:v>18903</c:v>
                </c:pt>
                <c:pt idx="29">
                  <c:v>19369</c:v>
                </c:pt>
                <c:pt idx="30">
                  <c:v>10327</c:v>
                </c:pt>
                <c:pt idx="31">
                  <c:v>5780</c:v>
                </c:pt>
                <c:pt idx="32">
                  <c:v>19689</c:v>
                </c:pt>
                <c:pt idx="33">
                  <c:v>19759</c:v>
                </c:pt>
                <c:pt idx="34">
                  <c:v>16680</c:v>
                </c:pt>
                <c:pt idx="35">
                  <c:v>15918</c:v>
                </c:pt>
                <c:pt idx="36">
                  <c:v>17983</c:v>
                </c:pt>
                <c:pt idx="37">
                  <c:v>12137</c:v>
                </c:pt>
                <c:pt idx="38">
                  <c:v>5882</c:v>
                </c:pt>
                <c:pt idx="39">
                  <c:v>22221</c:v>
                </c:pt>
                <c:pt idx="40">
                  <c:v>17458</c:v>
                </c:pt>
                <c:pt idx="41">
                  <c:v>15270</c:v>
                </c:pt>
                <c:pt idx="42">
                  <c:v>14294</c:v>
                </c:pt>
                <c:pt idx="43">
                  <c:v>17372</c:v>
                </c:pt>
                <c:pt idx="44">
                  <c:v>15062</c:v>
                </c:pt>
                <c:pt idx="45">
                  <c:v>7118</c:v>
                </c:pt>
                <c:pt idx="46">
                  <c:v>36470</c:v>
                </c:pt>
                <c:pt idx="47">
                  <c:v>24668</c:v>
                </c:pt>
                <c:pt idx="48">
                  <c:v>25273</c:v>
                </c:pt>
                <c:pt idx="49">
                  <c:v>19317</c:v>
                </c:pt>
                <c:pt idx="50">
                  <c:v>27661</c:v>
                </c:pt>
                <c:pt idx="51">
                  <c:v>9898</c:v>
                </c:pt>
                <c:pt idx="52">
                  <c:v>4464</c:v>
                </c:pt>
                <c:pt idx="53">
                  <c:v>30279</c:v>
                </c:pt>
                <c:pt idx="54">
                  <c:v>21365</c:v>
                </c:pt>
                <c:pt idx="55">
                  <c:v>21796</c:v>
                </c:pt>
                <c:pt idx="56">
                  <c:v>17305</c:v>
                </c:pt>
                <c:pt idx="57">
                  <c:v>21960</c:v>
                </c:pt>
                <c:pt idx="58">
                  <c:v>8968</c:v>
                </c:pt>
                <c:pt idx="59">
                  <c:v>4503</c:v>
                </c:pt>
                <c:pt idx="60">
                  <c:v>28349</c:v>
                </c:pt>
                <c:pt idx="61">
                  <c:v>25737</c:v>
                </c:pt>
                <c:pt idx="62">
                  <c:v>26257</c:v>
                </c:pt>
                <c:pt idx="63">
                  <c:v>26171</c:v>
                </c:pt>
                <c:pt idx="64">
                  <c:v>26619</c:v>
                </c:pt>
                <c:pt idx="65">
                  <c:v>12058</c:v>
                </c:pt>
                <c:pt idx="66">
                  <c:v>5930</c:v>
                </c:pt>
                <c:pt idx="67">
                  <c:v>31822</c:v>
                </c:pt>
                <c:pt idx="68">
                  <c:v>23549</c:v>
                </c:pt>
                <c:pt idx="69">
                  <c:v>30283</c:v>
                </c:pt>
                <c:pt idx="70">
                  <c:v>20676</c:v>
                </c:pt>
                <c:pt idx="71">
                  <c:v>27973</c:v>
                </c:pt>
                <c:pt idx="72">
                  <c:v>12292</c:v>
                </c:pt>
                <c:pt idx="73">
                  <c:v>6539</c:v>
                </c:pt>
                <c:pt idx="74">
                  <c:v>33758</c:v>
                </c:pt>
                <c:pt idx="75">
                  <c:v>27599</c:v>
                </c:pt>
                <c:pt idx="76">
                  <c:v>30837</c:v>
                </c:pt>
                <c:pt idx="77">
                  <c:v>28612</c:v>
                </c:pt>
                <c:pt idx="78">
                  <c:v>37082</c:v>
                </c:pt>
                <c:pt idx="79">
                  <c:v>120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0C-437F-AF06-6849CD78AB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7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4B8-4F59-BD64-DB10F6242939}"/>
                </c:ext>
              </c:extLst>
            </c:dLbl>
            <c:dLbl>
              <c:idx val="7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F0C-437F-AF06-6849CD78ABD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230</c:f>
              <c:numCache>
                <c:formatCode>m/d/yyyy</c:formatCode>
                <c:ptCount val="180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  <c:pt idx="67">
                  <c:v>44354</c:v>
                </c:pt>
                <c:pt idx="68">
                  <c:v>44355</c:v>
                </c:pt>
                <c:pt idx="69">
                  <c:v>44356</c:v>
                </c:pt>
                <c:pt idx="70">
                  <c:v>44357</c:v>
                </c:pt>
                <c:pt idx="71">
                  <c:v>44358</c:v>
                </c:pt>
                <c:pt idx="72">
                  <c:v>44359</c:v>
                </c:pt>
                <c:pt idx="73">
                  <c:v>44360</c:v>
                </c:pt>
                <c:pt idx="74">
                  <c:v>44361</c:v>
                </c:pt>
                <c:pt idx="75">
                  <c:v>44362</c:v>
                </c:pt>
                <c:pt idx="76">
                  <c:v>44363</c:v>
                </c:pt>
                <c:pt idx="77">
                  <c:v>44364</c:v>
                </c:pt>
                <c:pt idx="78">
                  <c:v>44365</c:v>
                </c:pt>
                <c:pt idx="79">
                  <c:v>44366</c:v>
                </c:pt>
              </c:numCache>
            </c:numRef>
          </c:cat>
          <c:val>
            <c:numRef>
              <c:f>Sheet1!$B$51:$B$230</c:f>
              <c:numCache>
                <c:formatCode>General</c:formatCode>
                <c:ptCount val="180"/>
                <c:pt idx="0">
                  <c:v>234921</c:v>
                </c:pt>
                <c:pt idx="1">
                  <c:v>49159</c:v>
                </c:pt>
                <c:pt idx="2">
                  <c:v>35240</c:v>
                </c:pt>
                <c:pt idx="3">
                  <c:v>35350</c:v>
                </c:pt>
                <c:pt idx="4">
                  <c:v>53277</c:v>
                </c:pt>
                <c:pt idx="5">
                  <c:v>357587</c:v>
                </c:pt>
                <c:pt idx="6">
                  <c:v>238905</c:v>
                </c:pt>
                <c:pt idx="7">
                  <c:v>212249</c:v>
                </c:pt>
                <c:pt idx="8">
                  <c:v>149796</c:v>
                </c:pt>
                <c:pt idx="9">
                  <c:v>41485</c:v>
                </c:pt>
                <c:pt idx="10">
                  <c:v>52913</c:v>
                </c:pt>
                <c:pt idx="11">
                  <c:v>271795</c:v>
                </c:pt>
                <c:pt idx="12">
                  <c:v>238011</c:v>
                </c:pt>
                <c:pt idx="13">
                  <c:v>213414</c:v>
                </c:pt>
                <c:pt idx="14">
                  <c:v>209269</c:v>
                </c:pt>
                <c:pt idx="15">
                  <c:v>138318</c:v>
                </c:pt>
                <c:pt idx="16">
                  <c:v>40256</c:v>
                </c:pt>
                <c:pt idx="17">
                  <c:v>58818</c:v>
                </c:pt>
                <c:pt idx="18">
                  <c:v>272253</c:v>
                </c:pt>
                <c:pt idx="19">
                  <c:v>231439</c:v>
                </c:pt>
                <c:pt idx="20">
                  <c:v>209991</c:v>
                </c:pt>
                <c:pt idx="21">
                  <c:v>213141</c:v>
                </c:pt>
                <c:pt idx="22">
                  <c:v>144227</c:v>
                </c:pt>
                <c:pt idx="23">
                  <c:v>44809</c:v>
                </c:pt>
                <c:pt idx="24">
                  <c:v>54178</c:v>
                </c:pt>
                <c:pt idx="25">
                  <c:v>272290</c:v>
                </c:pt>
                <c:pt idx="26">
                  <c:v>238631</c:v>
                </c:pt>
                <c:pt idx="27">
                  <c:v>216476</c:v>
                </c:pt>
                <c:pt idx="28">
                  <c:v>221254</c:v>
                </c:pt>
                <c:pt idx="29">
                  <c:v>150105</c:v>
                </c:pt>
                <c:pt idx="30">
                  <c:v>34024</c:v>
                </c:pt>
                <c:pt idx="31">
                  <c:v>67399</c:v>
                </c:pt>
                <c:pt idx="32">
                  <c:v>319959</c:v>
                </c:pt>
                <c:pt idx="33">
                  <c:v>261999</c:v>
                </c:pt>
                <c:pt idx="34">
                  <c:v>231192</c:v>
                </c:pt>
                <c:pt idx="35">
                  <c:v>230033</c:v>
                </c:pt>
                <c:pt idx="36">
                  <c:v>154423</c:v>
                </c:pt>
                <c:pt idx="37">
                  <c:v>37207</c:v>
                </c:pt>
                <c:pt idx="38">
                  <c:v>66964</c:v>
                </c:pt>
                <c:pt idx="39">
                  <c:v>330060</c:v>
                </c:pt>
                <c:pt idx="40">
                  <c:v>258042</c:v>
                </c:pt>
                <c:pt idx="41">
                  <c:v>229273</c:v>
                </c:pt>
                <c:pt idx="42">
                  <c:v>237196</c:v>
                </c:pt>
                <c:pt idx="43">
                  <c:v>157768</c:v>
                </c:pt>
                <c:pt idx="44">
                  <c:v>38215</c:v>
                </c:pt>
                <c:pt idx="45">
                  <c:v>64755</c:v>
                </c:pt>
                <c:pt idx="46">
                  <c:v>357814</c:v>
                </c:pt>
                <c:pt idx="47">
                  <c:v>275543</c:v>
                </c:pt>
                <c:pt idx="48">
                  <c:v>244994</c:v>
                </c:pt>
                <c:pt idx="49">
                  <c:v>254375</c:v>
                </c:pt>
                <c:pt idx="50">
                  <c:v>188601</c:v>
                </c:pt>
                <c:pt idx="51">
                  <c:v>46678</c:v>
                </c:pt>
                <c:pt idx="52">
                  <c:v>66360</c:v>
                </c:pt>
                <c:pt idx="53">
                  <c:v>331315</c:v>
                </c:pt>
                <c:pt idx="54">
                  <c:v>238947</c:v>
                </c:pt>
                <c:pt idx="55">
                  <c:v>205845</c:v>
                </c:pt>
                <c:pt idx="56">
                  <c:v>215759</c:v>
                </c:pt>
                <c:pt idx="57">
                  <c:v>170702</c:v>
                </c:pt>
                <c:pt idx="58">
                  <c:v>46006</c:v>
                </c:pt>
                <c:pt idx="59">
                  <c:v>59327</c:v>
                </c:pt>
                <c:pt idx="60">
                  <c:v>302712</c:v>
                </c:pt>
                <c:pt idx="61">
                  <c:v>203895</c:v>
                </c:pt>
                <c:pt idx="62">
                  <c:v>181095</c:v>
                </c:pt>
                <c:pt idx="63">
                  <c:v>194744</c:v>
                </c:pt>
                <c:pt idx="64">
                  <c:v>154598</c:v>
                </c:pt>
                <c:pt idx="65">
                  <c:v>37098</c:v>
                </c:pt>
                <c:pt idx="66">
                  <c:v>47648</c:v>
                </c:pt>
                <c:pt idx="67">
                  <c:v>232351</c:v>
                </c:pt>
                <c:pt idx="68">
                  <c:v>165636</c:v>
                </c:pt>
                <c:pt idx="69">
                  <c:v>149397</c:v>
                </c:pt>
                <c:pt idx="70">
                  <c:v>162892</c:v>
                </c:pt>
                <c:pt idx="71">
                  <c:v>143205</c:v>
                </c:pt>
                <c:pt idx="72">
                  <c:v>35018</c:v>
                </c:pt>
                <c:pt idx="73">
                  <c:v>40868</c:v>
                </c:pt>
                <c:pt idx="74">
                  <c:v>193869</c:v>
                </c:pt>
                <c:pt idx="75">
                  <c:v>140450</c:v>
                </c:pt>
                <c:pt idx="76">
                  <c:v>129212</c:v>
                </c:pt>
                <c:pt idx="77">
                  <c:v>148902</c:v>
                </c:pt>
                <c:pt idx="78">
                  <c:v>122043</c:v>
                </c:pt>
                <c:pt idx="79">
                  <c:v>297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0C-437F-AF06-6849CD78AB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455437769925402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  <c:pt idx="265">
                  <c:v>44341</c:v>
                </c:pt>
                <c:pt idx="266">
                  <c:v>44342</c:v>
                </c:pt>
                <c:pt idx="267">
                  <c:v>44343</c:v>
                </c:pt>
                <c:pt idx="268">
                  <c:v>44344</c:v>
                </c:pt>
                <c:pt idx="269">
                  <c:v>44345</c:v>
                </c:pt>
                <c:pt idx="270">
                  <c:v>44346</c:v>
                </c:pt>
                <c:pt idx="271">
                  <c:v>44347</c:v>
                </c:pt>
                <c:pt idx="272">
                  <c:v>44348</c:v>
                </c:pt>
                <c:pt idx="273">
                  <c:v>44349</c:v>
                </c:pt>
                <c:pt idx="274">
                  <c:v>44350</c:v>
                </c:pt>
                <c:pt idx="275">
                  <c:v>44351</c:v>
                </c:pt>
                <c:pt idx="276">
                  <c:v>44352</c:v>
                </c:pt>
                <c:pt idx="277">
                  <c:v>44353</c:v>
                </c:pt>
                <c:pt idx="278">
                  <c:v>44354</c:v>
                </c:pt>
                <c:pt idx="279">
                  <c:v>44355</c:v>
                </c:pt>
                <c:pt idx="280">
                  <c:v>44356</c:v>
                </c:pt>
                <c:pt idx="281">
                  <c:v>44357</c:v>
                </c:pt>
                <c:pt idx="282">
                  <c:v>44358</c:v>
                </c:pt>
                <c:pt idx="283">
                  <c:v>44359</c:v>
                </c:pt>
                <c:pt idx="284">
                  <c:v>44360</c:v>
                </c:pt>
                <c:pt idx="285">
                  <c:v>44361</c:v>
                </c:pt>
                <c:pt idx="286">
                  <c:v>44362</c:v>
                </c:pt>
                <c:pt idx="287">
                  <c:v>44363</c:v>
                </c:pt>
                <c:pt idx="288">
                  <c:v>44364</c:v>
                </c:pt>
                <c:pt idx="289">
                  <c:v>44365</c:v>
                </c:pt>
                <c:pt idx="290">
                  <c:v>44366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7.7733381765346901E-2</c:v>
                </c:pt>
                <c:pt idx="1">
                  <c:v>7.7178173047934881E-2</c:v>
                </c:pt>
                <c:pt idx="2">
                  <c:v>9.1159270725834199E-2</c:v>
                </c:pt>
                <c:pt idx="3">
                  <c:v>7.7572347266881031E-2</c:v>
                </c:pt>
                <c:pt idx="4">
                  <c:v>0.13089937666963491</c:v>
                </c:pt>
                <c:pt idx="5">
                  <c:v>6.775186977562693E-2</c:v>
                </c:pt>
                <c:pt idx="6">
                  <c:v>9.5726495726495733E-2</c:v>
                </c:pt>
                <c:pt idx="7">
                  <c:v>9.8688750862663904E-2</c:v>
                </c:pt>
                <c:pt idx="8">
                  <c:v>0.11473143759873618</c:v>
                </c:pt>
                <c:pt idx="9">
                  <c:v>8.6943304453564366E-2</c:v>
                </c:pt>
                <c:pt idx="10">
                  <c:v>0.15599311795067863</c:v>
                </c:pt>
                <c:pt idx="11">
                  <c:v>0.16857855361596011</c:v>
                </c:pt>
                <c:pt idx="12">
                  <c:v>7.4432201484146615E-2</c:v>
                </c:pt>
                <c:pt idx="13">
                  <c:v>8.8372093023255813E-2</c:v>
                </c:pt>
                <c:pt idx="14">
                  <c:v>0.12513542795232935</c:v>
                </c:pt>
                <c:pt idx="15">
                  <c:v>0.18123617739494821</c:v>
                </c:pt>
                <c:pt idx="16">
                  <c:v>0.14155861515840129</c:v>
                </c:pt>
                <c:pt idx="17">
                  <c:v>0.14803471158754467</c:v>
                </c:pt>
                <c:pt idx="18">
                  <c:v>0.11474926253687316</c:v>
                </c:pt>
                <c:pt idx="19">
                  <c:v>9.3735280263777671E-2</c:v>
                </c:pt>
                <c:pt idx="20">
                  <c:v>0.13887884267631104</c:v>
                </c:pt>
                <c:pt idx="21">
                  <c:v>0.13668659072967182</c:v>
                </c:pt>
                <c:pt idx="22">
                  <c:v>0.15435016111707842</c:v>
                </c:pt>
                <c:pt idx="23">
                  <c:v>0.17149783914830821</c:v>
                </c:pt>
                <c:pt idx="24">
                  <c:v>0.15984905660377358</c:v>
                </c:pt>
                <c:pt idx="25">
                  <c:v>0.15134502923976609</c:v>
                </c:pt>
                <c:pt idx="26">
                  <c:v>0.14418976545842219</c:v>
                </c:pt>
                <c:pt idx="27">
                  <c:v>0.1466496308915389</c:v>
                </c:pt>
                <c:pt idx="28">
                  <c:v>0.17769997878209209</c:v>
                </c:pt>
                <c:pt idx="29">
                  <c:v>0.20699765441751369</c:v>
                </c:pt>
                <c:pt idx="30">
                  <c:v>0.2112353109773574</c:v>
                </c:pt>
                <c:pt idx="31">
                  <c:v>0.22005374063074529</c:v>
                </c:pt>
                <c:pt idx="32">
                  <c:v>0.26118403428877579</c:v>
                </c:pt>
                <c:pt idx="33">
                  <c:v>0.24256885737660214</c:v>
                </c:pt>
                <c:pt idx="34">
                  <c:v>0.24219037118706357</c:v>
                </c:pt>
                <c:pt idx="35">
                  <c:v>0.27567383145684066</c:v>
                </c:pt>
                <c:pt idx="36">
                  <c:v>0.28456364693182762</c:v>
                </c:pt>
                <c:pt idx="37">
                  <c:v>0.39622920517560073</c:v>
                </c:pt>
                <c:pt idx="38">
                  <c:v>0.32751895991332614</c:v>
                </c:pt>
                <c:pt idx="39">
                  <c:v>0.34196312162413856</c:v>
                </c:pt>
                <c:pt idx="40">
                  <c:v>0.25907281667056897</c:v>
                </c:pt>
                <c:pt idx="41">
                  <c:v>0.32833117723156535</c:v>
                </c:pt>
                <c:pt idx="42">
                  <c:v>0.34790336017772838</c:v>
                </c:pt>
                <c:pt idx="43">
                  <c:v>0.35210706150341686</c:v>
                </c:pt>
                <c:pt idx="44">
                  <c:v>0.35694795852557426</c:v>
                </c:pt>
                <c:pt idx="45">
                  <c:v>0.36589742003340964</c:v>
                </c:pt>
                <c:pt idx="46">
                  <c:v>0.37101514808953201</c:v>
                </c:pt>
                <c:pt idx="47">
                  <c:v>0.3491095890410959</c:v>
                </c:pt>
                <c:pt idx="48">
                  <c:v>0.36410605030591436</c:v>
                </c:pt>
                <c:pt idx="49">
                  <c:v>0.40697818798890772</c:v>
                </c:pt>
                <c:pt idx="50">
                  <c:v>0.38831809724132349</c:v>
                </c:pt>
                <c:pt idx="51">
                  <c:v>0.40461661983139302</c:v>
                </c:pt>
                <c:pt idx="52">
                  <c:v>0.3850307287093942</c:v>
                </c:pt>
                <c:pt idx="53">
                  <c:v>0.41537125488493271</c:v>
                </c:pt>
                <c:pt idx="54">
                  <c:v>0.36299956559513469</c:v>
                </c:pt>
                <c:pt idx="55">
                  <c:v>0.38201386355344763</c:v>
                </c:pt>
                <c:pt idx="56">
                  <c:v>0.39476845055385024</c:v>
                </c:pt>
                <c:pt idx="57">
                  <c:v>0.37411500604386116</c:v>
                </c:pt>
                <c:pt idx="58">
                  <c:v>0.34482115549587855</c:v>
                </c:pt>
                <c:pt idx="59">
                  <c:v>0.38152807008956979</c:v>
                </c:pt>
                <c:pt idx="60">
                  <c:v>0.38648227859694112</c:v>
                </c:pt>
                <c:pt idx="61">
                  <c:v>0.3739665787159191</c:v>
                </c:pt>
                <c:pt idx="62">
                  <c:v>0.34597640142081409</c:v>
                </c:pt>
                <c:pt idx="63">
                  <c:v>0.41497512044862173</c:v>
                </c:pt>
                <c:pt idx="64">
                  <c:v>0.38161929228474351</c:v>
                </c:pt>
                <c:pt idx="65">
                  <c:v>0.34457047313480049</c:v>
                </c:pt>
                <c:pt idx="66">
                  <c:v>0.35788956710867886</c:v>
                </c:pt>
                <c:pt idx="67">
                  <c:v>0.32545078332840671</c:v>
                </c:pt>
                <c:pt idx="68">
                  <c:v>0.25539592837202968</c:v>
                </c:pt>
                <c:pt idx="69">
                  <c:v>0.30511149577436109</c:v>
                </c:pt>
                <c:pt idx="70">
                  <c:v>0.32957059390776561</c:v>
                </c:pt>
                <c:pt idx="71">
                  <c:v>0.32175852182223635</c:v>
                </c:pt>
                <c:pt idx="72">
                  <c:v>0.28581160587105964</c:v>
                </c:pt>
                <c:pt idx="73">
                  <c:v>0.32085044696786663</c:v>
                </c:pt>
                <c:pt idx="74">
                  <c:v>0.27688243064729195</c:v>
                </c:pt>
                <c:pt idx="75">
                  <c:v>0.25358270585377701</c:v>
                </c:pt>
                <c:pt idx="76">
                  <c:v>0.30539064355260032</c:v>
                </c:pt>
                <c:pt idx="77">
                  <c:v>0.2719746773800828</c:v>
                </c:pt>
                <c:pt idx="78">
                  <c:v>0.2992211951379285</c:v>
                </c:pt>
                <c:pt idx="79">
                  <c:v>0.27123934226552981</c:v>
                </c:pt>
                <c:pt idx="80">
                  <c:v>0.27515047291487532</c:v>
                </c:pt>
                <c:pt idx="81">
                  <c:v>0.26300258207303578</c:v>
                </c:pt>
                <c:pt idx="82">
                  <c:v>0.22697250981792216</c:v>
                </c:pt>
                <c:pt idx="83">
                  <c:v>0.29097970830691183</c:v>
                </c:pt>
                <c:pt idx="84">
                  <c:v>0.26794871794871794</c:v>
                </c:pt>
                <c:pt idx="85">
                  <c:v>0.26104330921265795</c:v>
                </c:pt>
                <c:pt idx="86">
                  <c:v>0.24143506821627084</c:v>
                </c:pt>
                <c:pt idx="87">
                  <c:v>0.26340904752815425</c:v>
                </c:pt>
                <c:pt idx="88">
                  <c:v>0.21320017368649588</c:v>
                </c:pt>
                <c:pt idx="89">
                  <c:v>0.19750109601052171</c:v>
                </c:pt>
                <c:pt idx="90">
                  <c:v>0.28644873411582111</c:v>
                </c:pt>
                <c:pt idx="91">
                  <c:v>0.24800675358784355</c:v>
                </c:pt>
                <c:pt idx="92">
                  <c:v>0.2759375</c:v>
                </c:pt>
                <c:pt idx="93">
                  <c:v>0.26640843554981708</c:v>
                </c:pt>
                <c:pt idx="94">
                  <c:v>0.30919117647058825</c:v>
                </c:pt>
                <c:pt idx="95">
                  <c:v>0.19984715322888805</c:v>
                </c:pt>
                <c:pt idx="96">
                  <c:v>0.2170713056776907</c:v>
                </c:pt>
                <c:pt idx="97">
                  <c:v>0.28039784500621634</c:v>
                </c:pt>
                <c:pt idx="98">
                  <c:v>0.31461318051575932</c:v>
                </c:pt>
                <c:pt idx="99">
                  <c:v>0.28181275070410516</c:v>
                </c:pt>
                <c:pt idx="100">
                  <c:v>0.26905240377183492</c:v>
                </c:pt>
                <c:pt idx="101">
                  <c:v>0.30826026765113057</c:v>
                </c:pt>
                <c:pt idx="102">
                  <c:v>0.30308422301304866</c:v>
                </c:pt>
                <c:pt idx="103">
                  <c:v>0.23588271121552248</c:v>
                </c:pt>
                <c:pt idx="104">
                  <c:v>0.30731340220291442</c:v>
                </c:pt>
                <c:pt idx="105">
                  <c:v>0.31307088640164671</c:v>
                </c:pt>
                <c:pt idx="106">
                  <c:v>0.29657719448657915</c:v>
                </c:pt>
                <c:pt idx="107">
                  <c:v>0.31908886750080206</c:v>
                </c:pt>
                <c:pt idx="108">
                  <c:v>0.28603151105001584</c:v>
                </c:pt>
                <c:pt idx="109">
                  <c:v>0.35940366972477067</c:v>
                </c:pt>
                <c:pt idx="110">
                  <c:v>0.27693645388015359</c:v>
                </c:pt>
                <c:pt idx="111">
                  <c:v>0.32775468943052904</c:v>
                </c:pt>
                <c:pt idx="112">
                  <c:v>0.38707568518984159</c:v>
                </c:pt>
                <c:pt idx="113">
                  <c:v>0.41813042600444178</c:v>
                </c:pt>
                <c:pt idx="114">
                  <c:v>0.35251982604246612</c:v>
                </c:pt>
                <c:pt idx="115">
                  <c:v>0.35822376581493426</c:v>
                </c:pt>
                <c:pt idx="116">
                  <c:v>0.34786306612800338</c:v>
                </c:pt>
                <c:pt idx="117">
                  <c:v>0.40042165499585874</c:v>
                </c:pt>
                <c:pt idx="118">
                  <c:v>0.5029421561008105</c:v>
                </c:pt>
                <c:pt idx="119">
                  <c:v>0.49308607567799334</c:v>
                </c:pt>
                <c:pt idx="120">
                  <c:v>0.502276505022765</c:v>
                </c:pt>
                <c:pt idx="121">
                  <c:v>0.48368036015756893</c:v>
                </c:pt>
                <c:pt idx="122">
                  <c:v>0.36076861489191353</c:v>
                </c:pt>
                <c:pt idx="123">
                  <c:v>0.41206349206349208</c:v>
                </c:pt>
                <c:pt idx="124">
                  <c:v>0.35481693942972836</c:v>
                </c:pt>
                <c:pt idx="125">
                  <c:v>0.41032106993290401</c:v>
                </c:pt>
                <c:pt idx="126">
                  <c:v>0.47708595185149377</c:v>
                </c:pt>
                <c:pt idx="127">
                  <c:v>0.40249047013977129</c:v>
                </c:pt>
                <c:pt idx="128">
                  <c:v>0.35702445089100704</c:v>
                </c:pt>
                <c:pt idx="129">
                  <c:v>0.44241375581269599</c:v>
                </c:pt>
                <c:pt idx="130">
                  <c:v>0.35164609053497942</c:v>
                </c:pt>
                <c:pt idx="131">
                  <c:v>0.27467323356696344</c:v>
                </c:pt>
                <c:pt idx="132">
                  <c:v>0.30414390881025882</c:v>
                </c:pt>
                <c:pt idx="133">
                  <c:v>0.34183155758498224</c:v>
                </c:pt>
                <c:pt idx="134">
                  <c:v>0.27736960791445409</c:v>
                </c:pt>
                <c:pt idx="135">
                  <c:v>0.30805753386398549</c:v>
                </c:pt>
                <c:pt idx="136">
                  <c:v>0.31220008724734621</c:v>
                </c:pt>
                <c:pt idx="137">
                  <c:v>0.29946204423191869</c:v>
                </c:pt>
                <c:pt idx="138">
                  <c:v>0.26528340885602991</c:v>
                </c:pt>
                <c:pt idx="139">
                  <c:v>0.33031609195402301</c:v>
                </c:pt>
                <c:pt idx="140">
                  <c:v>0.30665336505256696</c:v>
                </c:pt>
                <c:pt idx="141">
                  <c:v>0.32308517293770667</c:v>
                </c:pt>
                <c:pt idx="142">
                  <c:v>0.28452736680999929</c:v>
                </c:pt>
                <c:pt idx="143">
                  <c:v>0.30253251197809722</c:v>
                </c:pt>
                <c:pt idx="144">
                  <c:v>0.27335075114304375</c:v>
                </c:pt>
                <c:pt idx="145">
                  <c:v>0.2375320486312133</c:v>
                </c:pt>
                <c:pt idx="146">
                  <c:v>0.31054214657765389</c:v>
                </c:pt>
                <c:pt idx="147">
                  <c:v>0.29748083242059148</c:v>
                </c:pt>
                <c:pt idx="148">
                  <c:v>0.30783122639960597</c:v>
                </c:pt>
                <c:pt idx="149">
                  <c:v>0.2691032348389949</c:v>
                </c:pt>
                <c:pt idx="150">
                  <c:v>0.28154491436560641</c:v>
                </c:pt>
                <c:pt idx="151">
                  <c:v>0.31619447359216507</c:v>
                </c:pt>
                <c:pt idx="152">
                  <c:v>0.25052122425152196</c:v>
                </c:pt>
                <c:pt idx="153">
                  <c:v>0.30357916005195557</c:v>
                </c:pt>
                <c:pt idx="154">
                  <c:v>0.31332388377037562</c:v>
                </c:pt>
                <c:pt idx="155">
                  <c:v>0.28738371646036748</c:v>
                </c:pt>
                <c:pt idx="156">
                  <c:v>0.28191843682925022</c:v>
                </c:pt>
                <c:pt idx="157">
                  <c:v>0.3089983022071307</c:v>
                </c:pt>
                <c:pt idx="158">
                  <c:v>0.26312130691692737</c:v>
                </c:pt>
                <c:pt idx="159">
                  <c:v>0.27168636072181002</c:v>
                </c:pt>
                <c:pt idx="160">
                  <c:v>0.3358922363847045</c:v>
                </c:pt>
                <c:pt idx="161">
                  <c:v>0.32352725405326094</c:v>
                </c:pt>
                <c:pt idx="162">
                  <c:v>0.31415795058359863</c:v>
                </c:pt>
                <c:pt idx="163">
                  <c:v>0.28863226272103931</c:v>
                </c:pt>
                <c:pt idx="164">
                  <c:v>0.29417000445037828</c:v>
                </c:pt>
                <c:pt idx="165">
                  <c:v>0.27809847198641768</c:v>
                </c:pt>
                <c:pt idx="166">
                  <c:v>0.27174001134613829</c:v>
                </c:pt>
                <c:pt idx="167">
                  <c:v>0.36499649837652004</c:v>
                </c:pt>
                <c:pt idx="168">
                  <c:v>0.3350107353730542</c:v>
                </c:pt>
                <c:pt idx="169">
                  <c:v>0.33740120139108443</c:v>
                </c:pt>
                <c:pt idx="170">
                  <c:v>0.30392156862745096</c:v>
                </c:pt>
                <c:pt idx="171">
                  <c:v>0.34997257268239168</c:v>
                </c:pt>
                <c:pt idx="172">
                  <c:v>0.3717688062735986</c:v>
                </c:pt>
                <c:pt idx="173">
                  <c:v>0.30619373908370279</c:v>
                </c:pt>
                <c:pt idx="174">
                  <c:v>0.38252164502164504</c:v>
                </c:pt>
                <c:pt idx="175">
                  <c:v>0.36472657499200511</c:v>
                </c:pt>
                <c:pt idx="176">
                  <c:v>0.36105696339614468</c:v>
                </c:pt>
                <c:pt idx="177">
                  <c:v>0.34030018953947033</c:v>
                </c:pt>
                <c:pt idx="178">
                  <c:v>0.33004822814007129</c:v>
                </c:pt>
                <c:pt idx="179">
                  <c:v>0.32697171763623822</c:v>
                </c:pt>
                <c:pt idx="180">
                  <c:v>0.31527734738146884</c:v>
                </c:pt>
                <c:pt idx="181">
                  <c:v>0.36891358385728906</c:v>
                </c:pt>
                <c:pt idx="182">
                  <c:v>0.36449801679287075</c:v>
                </c:pt>
                <c:pt idx="183">
                  <c:v>0.36674176140828835</c:v>
                </c:pt>
                <c:pt idx="184">
                  <c:v>0.2999144826198501</c:v>
                </c:pt>
                <c:pt idx="185">
                  <c:v>0.41707623728426108</c:v>
                </c:pt>
                <c:pt idx="186">
                  <c:v>0.31155895297660413</c:v>
                </c:pt>
                <c:pt idx="187">
                  <c:v>0.29724304068522484</c:v>
                </c:pt>
                <c:pt idx="188">
                  <c:v>0.36235359732292249</c:v>
                </c:pt>
                <c:pt idx="189">
                  <c:v>0.35485645143548566</c:v>
                </c:pt>
                <c:pt idx="190">
                  <c:v>0.31283804787068697</c:v>
                </c:pt>
                <c:pt idx="191">
                  <c:v>0.3771316745876433</c:v>
                </c:pt>
                <c:pt idx="192">
                  <c:v>0.33671215074723848</c:v>
                </c:pt>
                <c:pt idx="193">
                  <c:v>0.29401143544989466</c:v>
                </c:pt>
                <c:pt idx="194">
                  <c:v>0.28003797125033902</c:v>
                </c:pt>
                <c:pt idx="195">
                  <c:v>0.35513852711342647</c:v>
                </c:pt>
                <c:pt idx="196">
                  <c:v>0.34231215362804485</c:v>
                </c:pt>
                <c:pt idx="197">
                  <c:v>0.32544167083899578</c:v>
                </c:pt>
                <c:pt idx="198">
                  <c:v>0.2825099375354912</c:v>
                </c:pt>
                <c:pt idx="199">
                  <c:v>0.2775582504428396</c:v>
                </c:pt>
                <c:pt idx="200">
                  <c:v>0.24609375</c:v>
                </c:pt>
                <c:pt idx="201">
                  <c:v>0.2299778410889522</c:v>
                </c:pt>
                <c:pt idx="202">
                  <c:v>0.3057353999084429</c:v>
                </c:pt>
                <c:pt idx="203">
                  <c:v>0.30273123708974065</c:v>
                </c:pt>
                <c:pt idx="204">
                  <c:v>0.24775293846508412</c:v>
                </c:pt>
                <c:pt idx="205">
                  <c:v>0.25860389610389611</c:v>
                </c:pt>
                <c:pt idx="206">
                  <c:v>0.27552420145012735</c:v>
                </c:pt>
                <c:pt idx="207">
                  <c:v>0.11980376968758069</c:v>
                </c:pt>
                <c:pt idx="208">
                  <c:v>0.20937500000000001</c:v>
                </c:pt>
                <c:pt idx="209">
                  <c:v>0.26208911614317021</c:v>
                </c:pt>
                <c:pt idx="210">
                  <c:v>0.25117943712380025</c:v>
                </c:pt>
                <c:pt idx="211">
                  <c:v>0.23934276586033776</c:v>
                </c:pt>
                <c:pt idx="212">
                  <c:v>0.25680793507664562</c:v>
                </c:pt>
                <c:pt idx="213">
                  <c:v>0.2233910891089109</c:v>
                </c:pt>
                <c:pt idx="214">
                  <c:v>0.18809523809523809</c:v>
                </c:pt>
                <c:pt idx="215">
                  <c:v>9.824382794604225E-2</c:v>
                </c:pt>
                <c:pt idx="216">
                  <c:v>0.18043959788720396</c:v>
                </c:pt>
                <c:pt idx="217">
                  <c:v>0.25035063113604489</c:v>
                </c:pt>
                <c:pt idx="218">
                  <c:v>0.24020190023752969</c:v>
                </c:pt>
                <c:pt idx="219">
                  <c:v>0.20358306188925082</c:v>
                </c:pt>
                <c:pt idx="220">
                  <c:v>0.17405719021964361</c:v>
                </c:pt>
                <c:pt idx="221">
                  <c:v>0.12866015971606035</c:v>
                </c:pt>
                <c:pt idx="222">
                  <c:v>0.12264150943396226</c:v>
                </c:pt>
                <c:pt idx="223">
                  <c:v>0.18625662409868821</c:v>
                </c:pt>
                <c:pt idx="224">
                  <c:v>0.15014985980856618</c:v>
                </c:pt>
                <c:pt idx="225">
                  <c:v>0.16328671328671329</c:v>
                </c:pt>
                <c:pt idx="226">
                  <c:v>0.14825414997137951</c:v>
                </c:pt>
                <c:pt idx="227">
                  <c:v>0.13376455368693402</c:v>
                </c:pt>
                <c:pt idx="228">
                  <c:v>0.10707547169811321</c:v>
                </c:pt>
                <c:pt idx="229">
                  <c:v>0.11821057388160867</c:v>
                </c:pt>
                <c:pt idx="230">
                  <c:v>0.15304264494489697</c:v>
                </c:pt>
                <c:pt idx="231">
                  <c:v>0.13617728531855955</c:v>
                </c:pt>
                <c:pt idx="232">
                  <c:v>0.13746867167919799</c:v>
                </c:pt>
                <c:pt idx="233">
                  <c:v>0.12409208420534286</c:v>
                </c:pt>
                <c:pt idx="234">
                  <c:v>0.11519099792715427</c:v>
                </c:pt>
                <c:pt idx="235">
                  <c:v>0.12792792792792793</c:v>
                </c:pt>
                <c:pt idx="236">
                  <c:v>9.8321571619301926E-2</c:v>
                </c:pt>
                <c:pt idx="237">
                  <c:v>0.14678394722374932</c:v>
                </c:pt>
                <c:pt idx="238">
                  <c:v>0.11027517262702256</c:v>
                </c:pt>
                <c:pt idx="239">
                  <c:v>0.10924268086135978</c:v>
                </c:pt>
                <c:pt idx="240">
                  <c:v>9.3173226595508113E-2</c:v>
                </c:pt>
                <c:pt idx="241">
                  <c:v>0.1165823795581581</c:v>
                </c:pt>
                <c:pt idx="242">
                  <c:v>8.3608360836083612E-2</c:v>
                </c:pt>
                <c:pt idx="243">
                  <c:v>7.0985332831891693E-2</c:v>
                </c:pt>
                <c:pt idx="244">
                  <c:v>0.1092511013215859</c:v>
                </c:pt>
                <c:pt idx="245">
                  <c:v>8.3928773959396616E-2</c:v>
                </c:pt>
                <c:pt idx="246">
                  <c:v>8.0443651198368174E-2</c:v>
                </c:pt>
                <c:pt idx="247">
                  <c:v>7.5817641228939539E-2</c:v>
                </c:pt>
                <c:pt idx="248">
                  <c:v>6.3376753507014022E-2</c:v>
                </c:pt>
                <c:pt idx="249">
                  <c:v>6.1702127659574467E-2</c:v>
                </c:pt>
                <c:pt idx="250">
                  <c:v>5.004299226139295E-2</c:v>
                </c:pt>
                <c:pt idx="251">
                  <c:v>8.8489121186337671E-2</c:v>
                </c:pt>
                <c:pt idx="252">
                  <c:v>5.9300557526609225E-2</c:v>
                </c:pt>
                <c:pt idx="253">
                  <c:v>6.575576430401367E-2</c:v>
                </c:pt>
                <c:pt idx="254">
                  <c:v>5.3017841326078702E-2</c:v>
                </c:pt>
                <c:pt idx="255">
                  <c:v>5.131922296317773E-2</c:v>
                </c:pt>
                <c:pt idx="256">
                  <c:v>3.3369803063457333E-2</c:v>
                </c:pt>
                <c:pt idx="257">
                  <c:v>2.8583897010691688E-2</c:v>
                </c:pt>
                <c:pt idx="258">
                  <c:v>4.972710733778047E-2</c:v>
                </c:pt>
                <c:pt idx="259">
                  <c:v>2.9878114550749648E-2</c:v>
                </c:pt>
                <c:pt idx="260">
                  <c:v>3.6867676478993999E-2</c:v>
                </c:pt>
                <c:pt idx="261">
                  <c:v>2.5082719607215285E-2</c:v>
                </c:pt>
                <c:pt idx="262">
                  <c:v>2.7786259541984732E-2</c:v>
                </c:pt>
                <c:pt idx="263">
                  <c:v>2.9394121175764846E-2</c:v>
                </c:pt>
                <c:pt idx="264">
                  <c:v>1.7569659442724459E-2</c:v>
                </c:pt>
                <c:pt idx="265">
                  <c:v>2.0754064337599448E-2</c:v>
                </c:pt>
                <c:pt idx="266">
                  <c:v>3.0323093220338982E-2</c:v>
                </c:pt>
                <c:pt idx="267">
                  <c:v>2.2579457602159774E-2</c:v>
                </c:pt>
                <c:pt idx="268">
                  <c:v>1.8396427052318164E-2</c:v>
                </c:pt>
                <c:pt idx="269">
                  <c:v>2.4142312579415501E-2</c:v>
                </c:pt>
                <c:pt idx="270">
                  <c:v>1.1296395911780527E-2</c:v>
                </c:pt>
                <c:pt idx="271">
                  <c:v>1.5625E-2</c:v>
                </c:pt>
                <c:pt idx="272">
                  <c:v>1.9461934745277618E-2</c:v>
                </c:pt>
                <c:pt idx="273">
                  <c:v>1.4021095960895291E-2</c:v>
                </c:pt>
                <c:pt idx="274">
                  <c:v>1.8029142998271179E-2</c:v>
                </c:pt>
                <c:pt idx="275">
                  <c:v>1.0836984090385058E-2</c:v>
                </c:pt>
                <c:pt idx="276">
                  <c:v>1.3974096796182686E-2</c:v>
                </c:pt>
                <c:pt idx="277">
                  <c:v>8.4439083232810616E-3</c:v>
                </c:pt>
                <c:pt idx="278">
                  <c:v>7.2056896874415121E-3</c:v>
                </c:pt>
                <c:pt idx="279">
                  <c:v>1.3597904915390814E-2</c:v>
                </c:pt>
                <c:pt idx="280">
                  <c:v>8.8272383354350576E-3</c:v>
                </c:pt>
                <c:pt idx="281">
                  <c:v>8.4479045883717081E-3</c:v>
                </c:pt>
                <c:pt idx="282">
                  <c:v>7.0020005715918836E-3</c:v>
                </c:pt>
                <c:pt idx="283">
                  <c:v>6.4957264957264957E-3</c:v>
                </c:pt>
                <c:pt idx="284">
                  <c:v>5.5865921787709499E-3</c:v>
                </c:pt>
                <c:pt idx="285">
                  <c:v>6.8250068250068248E-3</c:v>
                </c:pt>
                <c:pt idx="286">
                  <c:v>7.8148482116020442E-3</c:v>
                </c:pt>
                <c:pt idx="287">
                  <c:v>8.2732286805260926E-3</c:v>
                </c:pt>
                <c:pt idx="288">
                  <c:v>7.5163921317767468E-3</c:v>
                </c:pt>
                <c:pt idx="289">
                  <c:v>6.6705905434569354E-3</c:v>
                </c:pt>
                <c:pt idx="290">
                  <c:v>7.282483710233806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215369554576603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  <c:pt idx="265">
                  <c:v>44341</c:v>
                </c:pt>
                <c:pt idx="266">
                  <c:v>44342</c:v>
                </c:pt>
                <c:pt idx="267">
                  <c:v>44343</c:v>
                </c:pt>
                <c:pt idx="268">
                  <c:v>44344</c:v>
                </c:pt>
                <c:pt idx="269">
                  <c:v>44345</c:v>
                </c:pt>
                <c:pt idx="270">
                  <c:v>44346</c:v>
                </c:pt>
                <c:pt idx="271">
                  <c:v>44347</c:v>
                </c:pt>
                <c:pt idx="272">
                  <c:v>44348</c:v>
                </c:pt>
                <c:pt idx="273">
                  <c:v>44349</c:v>
                </c:pt>
                <c:pt idx="274">
                  <c:v>44350</c:v>
                </c:pt>
                <c:pt idx="275">
                  <c:v>44351</c:v>
                </c:pt>
                <c:pt idx="276">
                  <c:v>44352</c:v>
                </c:pt>
                <c:pt idx="277">
                  <c:v>44353</c:v>
                </c:pt>
                <c:pt idx="278">
                  <c:v>44354</c:v>
                </c:pt>
                <c:pt idx="279">
                  <c:v>44355</c:v>
                </c:pt>
                <c:pt idx="280">
                  <c:v>44356</c:v>
                </c:pt>
                <c:pt idx="281">
                  <c:v>44357</c:v>
                </c:pt>
                <c:pt idx="282">
                  <c:v>44358</c:v>
                </c:pt>
                <c:pt idx="283">
                  <c:v>44359</c:v>
                </c:pt>
                <c:pt idx="284">
                  <c:v>44360</c:v>
                </c:pt>
                <c:pt idx="285">
                  <c:v>44361</c:v>
                </c:pt>
                <c:pt idx="286">
                  <c:v>44362</c:v>
                </c:pt>
                <c:pt idx="287">
                  <c:v>44363</c:v>
                </c:pt>
                <c:pt idx="288">
                  <c:v>44364</c:v>
                </c:pt>
                <c:pt idx="289">
                  <c:v>44365</c:v>
                </c:pt>
                <c:pt idx="290">
                  <c:v>44366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3.5977859778597784E-2</c:v>
                </c:pt>
                <c:pt idx="1">
                  <c:v>3.671003717472119E-2</c:v>
                </c:pt>
                <c:pt idx="2">
                  <c:v>3.4482758620689655E-2</c:v>
                </c:pt>
                <c:pt idx="3">
                  <c:v>4.5853000674308836E-2</c:v>
                </c:pt>
                <c:pt idx="4">
                  <c:v>5.7432432432432436E-2</c:v>
                </c:pt>
                <c:pt idx="5">
                  <c:v>3.1896551724137932E-2</c:v>
                </c:pt>
                <c:pt idx="6">
                  <c:v>4.4585987261146494E-2</c:v>
                </c:pt>
                <c:pt idx="7">
                  <c:v>5.4921968787515006E-2</c:v>
                </c:pt>
                <c:pt idx="8">
                  <c:v>6.350039359748097E-2</c:v>
                </c:pt>
                <c:pt idx="9">
                  <c:v>5.4970224461749886E-2</c:v>
                </c:pt>
                <c:pt idx="10">
                  <c:v>8.6942572986846323E-2</c:v>
                </c:pt>
                <c:pt idx="11">
                  <c:v>8.0243161094224927E-2</c:v>
                </c:pt>
                <c:pt idx="12">
                  <c:v>4.1863942187889358E-2</c:v>
                </c:pt>
                <c:pt idx="13">
                  <c:v>6.332992849846783E-2</c:v>
                </c:pt>
                <c:pt idx="14">
                  <c:v>8.5045778229908442E-2</c:v>
                </c:pt>
                <c:pt idx="15">
                  <c:v>0.10742496050552923</c:v>
                </c:pt>
                <c:pt idx="16">
                  <c:v>7.6376230404666429E-2</c:v>
                </c:pt>
                <c:pt idx="17">
                  <c:v>9.0766823161189364E-2</c:v>
                </c:pt>
                <c:pt idx="18">
                  <c:v>7.0262058488416254E-2</c:v>
                </c:pt>
                <c:pt idx="19">
                  <c:v>6.7952840300107176E-2</c:v>
                </c:pt>
                <c:pt idx="20">
                  <c:v>8.3014048531289908E-2</c:v>
                </c:pt>
                <c:pt idx="21">
                  <c:v>8.4574559150830342E-2</c:v>
                </c:pt>
                <c:pt idx="22">
                  <c:v>0.10723815877251501</c:v>
                </c:pt>
                <c:pt idx="23">
                  <c:v>0.10963099065992957</c:v>
                </c:pt>
                <c:pt idx="24">
                  <c:v>0.11570450097847358</c:v>
                </c:pt>
                <c:pt idx="25">
                  <c:v>0.10934105720492397</c:v>
                </c:pt>
                <c:pt idx="26">
                  <c:v>8.3973509933774837E-2</c:v>
                </c:pt>
                <c:pt idx="27">
                  <c:v>0.10075093867334167</c:v>
                </c:pt>
                <c:pt idx="28">
                  <c:v>0.12146676852559206</c:v>
                </c:pt>
                <c:pt idx="29">
                  <c:v>0.13136640843909675</c:v>
                </c:pt>
                <c:pt idx="30">
                  <c:v>0.15242261103633917</c:v>
                </c:pt>
                <c:pt idx="31">
                  <c:v>0.15272136474411047</c:v>
                </c:pt>
                <c:pt idx="32">
                  <c:v>0.20092112838226828</c:v>
                </c:pt>
                <c:pt idx="33">
                  <c:v>0.17301285102332223</c:v>
                </c:pt>
                <c:pt idx="34">
                  <c:v>0.1621477937267411</c:v>
                </c:pt>
                <c:pt idx="35">
                  <c:v>0.19282744282744282</c:v>
                </c:pt>
                <c:pt idx="36">
                  <c:v>0.18901026150281364</c:v>
                </c:pt>
                <c:pt idx="37">
                  <c:v>0.2630530658699673</c:v>
                </c:pt>
                <c:pt idx="38">
                  <c:v>0.22719695165515599</c:v>
                </c:pt>
                <c:pt idx="39">
                  <c:v>0.22153209109730848</c:v>
                </c:pt>
                <c:pt idx="40">
                  <c:v>0.17863536900736027</c:v>
                </c:pt>
                <c:pt idx="41">
                  <c:v>0.21128220313888066</c:v>
                </c:pt>
                <c:pt idx="42">
                  <c:v>0.22228026642288101</c:v>
                </c:pt>
                <c:pt idx="43">
                  <c:v>0.2092184884768894</c:v>
                </c:pt>
                <c:pt idx="44">
                  <c:v>0.23345742764501021</c:v>
                </c:pt>
                <c:pt idx="45">
                  <c:v>0.22964509394572025</c:v>
                </c:pt>
                <c:pt idx="46">
                  <c:v>0.23609256786826879</c:v>
                </c:pt>
                <c:pt idx="47">
                  <c:v>0.22315819531696174</c:v>
                </c:pt>
                <c:pt idx="48">
                  <c:v>0.23065585851142226</c:v>
                </c:pt>
                <c:pt idx="49">
                  <c:v>0.26355449365925382</c:v>
                </c:pt>
                <c:pt idx="50">
                  <c:v>0.25147774687065366</c:v>
                </c:pt>
                <c:pt idx="51">
                  <c:v>0.26915641476274166</c:v>
                </c:pt>
                <c:pt idx="52">
                  <c:v>0.25185625185625188</c:v>
                </c:pt>
                <c:pt idx="53">
                  <c:v>0.27571154181945173</c:v>
                </c:pt>
                <c:pt idx="54">
                  <c:v>0.25106082036775107</c:v>
                </c:pt>
                <c:pt idx="55">
                  <c:v>0.26678523788350378</c:v>
                </c:pt>
                <c:pt idx="56">
                  <c:v>0.24543821499480004</c:v>
                </c:pt>
                <c:pt idx="57">
                  <c:v>0.23320053120849935</c:v>
                </c:pt>
                <c:pt idx="58">
                  <c:v>0.23397161908018466</c:v>
                </c:pt>
                <c:pt idx="59">
                  <c:v>0.24901554404145076</c:v>
                </c:pt>
                <c:pt idx="60">
                  <c:v>0.27476415094339623</c:v>
                </c:pt>
                <c:pt idx="61">
                  <c:v>0.2207808564231738</c:v>
                </c:pt>
                <c:pt idx="62">
                  <c:v>0.22155632549864218</c:v>
                </c:pt>
                <c:pt idx="63">
                  <c:v>0.26800583741093659</c:v>
                </c:pt>
                <c:pt idx="64">
                  <c:v>0.23893246776665766</c:v>
                </c:pt>
                <c:pt idx="65">
                  <c:v>0.24662259269905146</c:v>
                </c:pt>
                <c:pt idx="66">
                  <c:v>0.2606109759394431</c:v>
                </c:pt>
                <c:pt idx="67">
                  <c:v>0.2313689520752121</c:v>
                </c:pt>
                <c:pt idx="68">
                  <c:v>0.18480751604032997</c:v>
                </c:pt>
                <c:pt idx="69">
                  <c:v>0.19998130142109199</c:v>
                </c:pt>
                <c:pt idx="70">
                  <c:v>0.20464623096202045</c:v>
                </c:pt>
                <c:pt idx="71">
                  <c:v>0.20761925553978824</c:v>
                </c:pt>
                <c:pt idx="72">
                  <c:v>0.20560124472104913</c:v>
                </c:pt>
                <c:pt idx="73">
                  <c:v>0.23602219376867264</c:v>
                </c:pt>
                <c:pt idx="74">
                  <c:v>0.21541353383458647</c:v>
                </c:pt>
                <c:pt idx="75">
                  <c:v>0.15731667922902984</c:v>
                </c:pt>
                <c:pt idx="76">
                  <c:v>0.22097875569044007</c:v>
                </c:pt>
                <c:pt idx="77">
                  <c:v>0.17812938624473651</c:v>
                </c:pt>
                <c:pt idx="78">
                  <c:v>0.20851007423117709</c:v>
                </c:pt>
                <c:pt idx="79">
                  <c:v>0.21109147750441756</c:v>
                </c:pt>
                <c:pt idx="80">
                  <c:v>0.20124944221329763</c:v>
                </c:pt>
                <c:pt idx="81">
                  <c:v>0.21202775636083268</c:v>
                </c:pt>
                <c:pt idx="82">
                  <c:v>0.13010763925175045</c:v>
                </c:pt>
                <c:pt idx="83">
                  <c:v>0.19554355165428763</c:v>
                </c:pt>
                <c:pt idx="84">
                  <c:v>0.18079730488489612</c:v>
                </c:pt>
                <c:pt idx="85">
                  <c:v>0.16371469602680708</c:v>
                </c:pt>
                <c:pt idx="86">
                  <c:v>0.1748105565717272</c:v>
                </c:pt>
                <c:pt idx="87">
                  <c:v>0.22015977443609022</c:v>
                </c:pt>
                <c:pt idx="88">
                  <c:v>0.19550669216061187</c:v>
                </c:pt>
                <c:pt idx="89">
                  <c:v>0.11077418743485265</c:v>
                </c:pt>
                <c:pt idx="90">
                  <c:v>0.18893290121233947</c:v>
                </c:pt>
                <c:pt idx="91">
                  <c:v>0.17482256257004108</c:v>
                </c:pt>
                <c:pt idx="92">
                  <c:v>0.19575342465753426</c:v>
                </c:pt>
                <c:pt idx="93">
                  <c:v>0.19764817674308113</c:v>
                </c:pt>
                <c:pt idx="94">
                  <c:v>0.26796692813228745</c:v>
                </c:pt>
                <c:pt idx="95">
                  <c:v>0.16257796257796259</c:v>
                </c:pt>
                <c:pt idx="96">
                  <c:v>0.12775895228500778</c:v>
                </c:pt>
                <c:pt idx="97">
                  <c:v>0.18707761621953717</c:v>
                </c:pt>
                <c:pt idx="98">
                  <c:v>0.19634517766497461</c:v>
                </c:pt>
                <c:pt idx="99">
                  <c:v>0.20231566118220598</c:v>
                </c:pt>
                <c:pt idx="100">
                  <c:v>0.18571301327157744</c:v>
                </c:pt>
                <c:pt idx="101">
                  <c:v>0.20814046288906624</c:v>
                </c:pt>
                <c:pt idx="102">
                  <c:v>0.21614100185528756</c:v>
                </c:pt>
                <c:pt idx="103">
                  <c:v>0.13667765740304599</c:v>
                </c:pt>
                <c:pt idx="104">
                  <c:v>0.19529951729049616</c:v>
                </c:pt>
                <c:pt idx="105">
                  <c:v>0.18168246622378145</c:v>
                </c:pt>
                <c:pt idx="106">
                  <c:v>0.17261338407865526</c:v>
                </c:pt>
                <c:pt idx="107">
                  <c:v>0.17682518419290019</c:v>
                </c:pt>
                <c:pt idx="108">
                  <c:v>0.17537354128040136</c:v>
                </c:pt>
                <c:pt idx="109">
                  <c:v>0.18500451671183379</c:v>
                </c:pt>
                <c:pt idx="110">
                  <c:v>0.14207935128873445</c:v>
                </c:pt>
                <c:pt idx="111">
                  <c:v>0.16685875943000839</c:v>
                </c:pt>
                <c:pt idx="112">
                  <c:v>0.18022583800124478</c:v>
                </c:pt>
                <c:pt idx="113">
                  <c:v>0.2335596508244423</c:v>
                </c:pt>
                <c:pt idx="114">
                  <c:v>0.21497584541062803</c:v>
                </c:pt>
                <c:pt idx="115">
                  <c:v>0.18518518518518517</c:v>
                </c:pt>
                <c:pt idx="116">
                  <c:v>0.19236719958741619</c:v>
                </c:pt>
                <c:pt idx="117">
                  <c:v>0.19858036166976509</c:v>
                </c:pt>
                <c:pt idx="118">
                  <c:v>0.26657545779835823</c:v>
                </c:pt>
                <c:pt idx="119">
                  <c:v>0.26700502013570915</c:v>
                </c:pt>
                <c:pt idx="120">
                  <c:v>0.29832780740954301</c:v>
                </c:pt>
                <c:pt idx="121">
                  <c:v>0.35269441755404968</c:v>
                </c:pt>
                <c:pt idx="122">
                  <c:v>0.20321700416487146</c:v>
                </c:pt>
                <c:pt idx="123">
                  <c:v>0.25674260277559569</c:v>
                </c:pt>
                <c:pt idx="124">
                  <c:v>0.19439836049575485</c:v>
                </c:pt>
                <c:pt idx="125">
                  <c:v>0.24581825295901399</c:v>
                </c:pt>
                <c:pt idx="126">
                  <c:v>0.2857142857142857</c:v>
                </c:pt>
                <c:pt idx="127">
                  <c:v>0.25869028930253418</c:v>
                </c:pt>
                <c:pt idx="128">
                  <c:v>0.22360083071516054</c:v>
                </c:pt>
                <c:pt idx="129">
                  <c:v>0.2805796548765373</c:v>
                </c:pt>
                <c:pt idx="130">
                  <c:v>0.23394777265745006</c:v>
                </c:pt>
                <c:pt idx="131">
                  <c:v>0.15388291517323777</c:v>
                </c:pt>
                <c:pt idx="132">
                  <c:v>0.20391711022686165</c:v>
                </c:pt>
                <c:pt idx="133">
                  <c:v>0.22552913974032135</c:v>
                </c:pt>
                <c:pt idx="134">
                  <c:v>0.17707292707292707</c:v>
                </c:pt>
                <c:pt idx="135">
                  <c:v>0.20707516628406616</c:v>
                </c:pt>
                <c:pt idx="136">
                  <c:v>0.23939595825005552</c:v>
                </c:pt>
                <c:pt idx="137">
                  <c:v>0.22196604485432822</c:v>
                </c:pt>
                <c:pt idx="138">
                  <c:v>0.15917217466681113</c:v>
                </c:pt>
                <c:pt idx="139">
                  <c:v>0.22012694891230664</c:v>
                </c:pt>
                <c:pt idx="140">
                  <c:v>0.20247714929129687</c:v>
                </c:pt>
                <c:pt idx="141">
                  <c:v>0.19504898661281878</c:v>
                </c:pt>
                <c:pt idx="142">
                  <c:v>0.19122636936500242</c:v>
                </c:pt>
                <c:pt idx="143">
                  <c:v>0.22277898158179849</c:v>
                </c:pt>
                <c:pt idx="144">
                  <c:v>0.20495730056238284</c:v>
                </c:pt>
                <c:pt idx="145">
                  <c:v>0.14730452216529294</c:v>
                </c:pt>
                <c:pt idx="146">
                  <c:v>0.22075248018967991</c:v>
                </c:pt>
                <c:pt idx="147">
                  <c:v>0.18333734070690069</c:v>
                </c:pt>
                <c:pt idx="148">
                  <c:v>0.21836648328396108</c:v>
                </c:pt>
                <c:pt idx="149">
                  <c:v>0.18984973396480151</c:v>
                </c:pt>
                <c:pt idx="150">
                  <c:v>0.2032520325203252</c:v>
                </c:pt>
                <c:pt idx="151">
                  <c:v>0.20096950111088668</c:v>
                </c:pt>
                <c:pt idx="152">
                  <c:v>0.14853666212105318</c:v>
                </c:pt>
                <c:pt idx="153">
                  <c:v>0.19853953432692883</c:v>
                </c:pt>
                <c:pt idx="154">
                  <c:v>0.21566680296746304</c:v>
                </c:pt>
                <c:pt idx="155">
                  <c:v>0.19198610753794701</c:v>
                </c:pt>
                <c:pt idx="156">
                  <c:v>0.18752107925801012</c:v>
                </c:pt>
                <c:pt idx="157">
                  <c:v>0.23555708390646493</c:v>
                </c:pt>
                <c:pt idx="158">
                  <c:v>0.1766903249906612</c:v>
                </c:pt>
                <c:pt idx="159">
                  <c:v>0.16400572853126824</c:v>
                </c:pt>
                <c:pt idx="160">
                  <c:v>0.21508576375737243</c:v>
                </c:pt>
                <c:pt idx="161">
                  <c:v>0.20408400046409098</c:v>
                </c:pt>
                <c:pt idx="162">
                  <c:v>0.20407143749219434</c:v>
                </c:pt>
                <c:pt idx="163">
                  <c:v>0.18858026395714839</c:v>
                </c:pt>
                <c:pt idx="164">
                  <c:v>0.21621621621621623</c:v>
                </c:pt>
                <c:pt idx="165">
                  <c:v>0.19832453105081041</c:v>
                </c:pt>
                <c:pt idx="166">
                  <c:v>0.17246782848188422</c:v>
                </c:pt>
                <c:pt idx="167">
                  <c:v>0.23265042908874448</c:v>
                </c:pt>
                <c:pt idx="168">
                  <c:v>0.20120320855614973</c:v>
                </c:pt>
                <c:pt idx="169">
                  <c:v>0.21517957065825619</c:v>
                </c:pt>
                <c:pt idx="170">
                  <c:v>0.19072608007238182</c:v>
                </c:pt>
                <c:pt idx="171">
                  <c:v>0.24549549549549549</c:v>
                </c:pt>
                <c:pt idx="172">
                  <c:v>0.22486342831832276</c:v>
                </c:pt>
                <c:pt idx="173">
                  <c:v>0.17888897631599654</c:v>
                </c:pt>
                <c:pt idx="174">
                  <c:v>0.23973941368078175</c:v>
                </c:pt>
                <c:pt idx="175">
                  <c:v>0.20203553986949563</c:v>
                </c:pt>
                <c:pt idx="176">
                  <c:v>0.22165341005246234</c:v>
                </c:pt>
                <c:pt idx="177">
                  <c:v>0.20391818146126969</c:v>
                </c:pt>
                <c:pt idx="178">
                  <c:v>0.21787414066631411</c:v>
                </c:pt>
                <c:pt idx="179">
                  <c:v>0.21218098878066824</c:v>
                </c:pt>
                <c:pt idx="180">
                  <c:v>0.17157061314675015</c:v>
                </c:pt>
                <c:pt idx="181">
                  <c:v>0.22121377802077638</c:v>
                </c:pt>
                <c:pt idx="182">
                  <c:v>0.20932674730660028</c:v>
                </c:pt>
                <c:pt idx="183">
                  <c:v>0.19123058449858621</c:v>
                </c:pt>
                <c:pt idx="184">
                  <c:v>0.16755717033554179</c:v>
                </c:pt>
                <c:pt idx="185">
                  <c:v>0.26218240790794656</c:v>
                </c:pt>
                <c:pt idx="186">
                  <c:v>0.16841838672913764</c:v>
                </c:pt>
                <c:pt idx="187">
                  <c:v>0.12590546347452425</c:v>
                </c:pt>
                <c:pt idx="188">
                  <c:v>0.17465814772795127</c:v>
                </c:pt>
                <c:pt idx="189">
                  <c:v>0.16091954022988506</c:v>
                </c:pt>
                <c:pt idx="190">
                  <c:v>0.12272309107635694</c:v>
                </c:pt>
                <c:pt idx="191">
                  <c:v>0.16494812753036436</c:v>
                </c:pt>
                <c:pt idx="192">
                  <c:v>0.21893990546927752</c:v>
                </c:pt>
                <c:pt idx="193">
                  <c:v>0.15450213192876849</c:v>
                </c:pt>
                <c:pt idx="194">
                  <c:v>0.11773389924340284</c:v>
                </c:pt>
                <c:pt idx="195">
                  <c:v>0.15411939956456971</c:v>
                </c:pt>
                <c:pt idx="196">
                  <c:v>0.1366309025883494</c:v>
                </c:pt>
                <c:pt idx="197">
                  <c:v>0.12980226444308249</c:v>
                </c:pt>
                <c:pt idx="198">
                  <c:v>0.13191875226695685</c:v>
                </c:pt>
                <c:pt idx="199">
                  <c:v>0.2044807639335231</c:v>
                </c:pt>
                <c:pt idx="200">
                  <c:v>0.1247182569496619</c:v>
                </c:pt>
                <c:pt idx="201">
                  <c:v>9.4791693943282102E-2</c:v>
                </c:pt>
                <c:pt idx="202">
                  <c:v>0.12881162724422912</c:v>
                </c:pt>
                <c:pt idx="203">
                  <c:v>0.10643863837022988</c:v>
                </c:pt>
                <c:pt idx="204">
                  <c:v>0.10043653570595489</c:v>
                </c:pt>
                <c:pt idx="205">
                  <c:v>0.11798143851508121</c:v>
                </c:pt>
                <c:pt idx="206">
                  <c:v>0.18357260531889857</c:v>
                </c:pt>
                <c:pt idx="207">
                  <c:v>0.12470268433571186</c:v>
                </c:pt>
                <c:pt idx="208">
                  <c:v>8.1031356655290099E-2</c:v>
                </c:pt>
                <c:pt idx="209">
                  <c:v>0.10650376403801061</c:v>
                </c:pt>
                <c:pt idx="210">
                  <c:v>9.0947851754673667E-2</c:v>
                </c:pt>
                <c:pt idx="211">
                  <c:v>7.3605278944211164E-2</c:v>
                </c:pt>
                <c:pt idx="212">
                  <c:v>0.14593516209476309</c:v>
                </c:pt>
                <c:pt idx="213">
                  <c:v>0.15531548457804917</c:v>
                </c:pt>
                <c:pt idx="214">
                  <c:v>0.14263592567102545</c:v>
                </c:pt>
                <c:pt idx="215">
                  <c:v>8.9037122969837582E-2</c:v>
                </c:pt>
                <c:pt idx="216">
                  <c:v>5.1971174226367108E-2</c:v>
                </c:pt>
                <c:pt idx="217">
                  <c:v>7.7058667998472344E-2</c:v>
                </c:pt>
                <c:pt idx="218">
                  <c:v>6.6322321460597577E-2</c:v>
                </c:pt>
                <c:pt idx="219">
                  <c:v>8.1071282911134274E-2</c:v>
                </c:pt>
                <c:pt idx="220">
                  <c:v>0.12209302325581395</c:v>
                </c:pt>
                <c:pt idx="221">
                  <c:v>6.5522620904836196E-2</c:v>
                </c:pt>
                <c:pt idx="222">
                  <c:v>4.8038298574808784E-2</c:v>
                </c:pt>
                <c:pt idx="223">
                  <c:v>6.4208909370199699E-2</c:v>
                </c:pt>
                <c:pt idx="224">
                  <c:v>5.2721862419044287E-2</c:v>
                </c:pt>
                <c:pt idx="225">
                  <c:v>4.6562372868819112E-2</c:v>
                </c:pt>
                <c:pt idx="226">
                  <c:v>6.801333399671626E-2</c:v>
                </c:pt>
                <c:pt idx="227">
                  <c:v>9.8516949152542374E-2</c:v>
                </c:pt>
                <c:pt idx="228">
                  <c:v>5.5298204979733645E-2</c:v>
                </c:pt>
                <c:pt idx="229">
                  <c:v>4.101272905301441E-2</c:v>
                </c:pt>
                <c:pt idx="230">
                  <c:v>4.7183874522004017E-2</c:v>
                </c:pt>
                <c:pt idx="231">
                  <c:v>4.2862279755483637E-2</c:v>
                </c:pt>
                <c:pt idx="232">
                  <c:v>3.7465842082554296E-2</c:v>
                </c:pt>
                <c:pt idx="233">
                  <c:v>5.5187962554526293E-2</c:v>
                </c:pt>
                <c:pt idx="234">
                  <c:v>8.4950409659335924E-2</c:v>
                </c:pt>
                <c:pt idx="235">
                  <c:v>6.2924120913016662E-2</c:v>
                </c:pt>
                <c:pt idx="236">
                  <c:v>3.1306576052140489E-2</c:v>
                </c:pt>
                <c:pt idx="237">
                  <c:v>4.0906898215147126E-2</c:v>
                </c:pt>
                <c:pt idx="238">
                  <c:v>3.5859558980946261E-2</c:v>
                </c:pt>
                <c:pt idx="239">
                  <c:v>3.1528563005098681E-2</c:v>
                </c:pt>
                <c:pt idx="240">
                  <c:v>4.5362188725606011E-2</c:v>
                </c:pt>
                <c:pt idx="241">
                  <c:v>9.5831909805261364E-2</c:v>
                </c:pt>
                <c:pt idx="242">
                  <c:v>3.1968160225959684E-2</c:v>
                </c:pt>
                <c:pt idx="243">
                  <c:v>2.3901098901098899E-2</c:v>
                </c:pt>
                <c:pt idx="244">
                  <c:v>3.1503666374966051E-2</c:v>
                </c:pt>
                <c:pt idx="245">
                  <c:v>2.8205128205128206E-2</c:v>
                </c:pt>
                <c:pt idx="246">
                  <c:v>2.362959020755721E-2</c:v>
                </c:pt>
                <c:pt idx="247">
                  <c:v>3.6270679592919498E-2</c:v>
                </c:pt>
                <c:pt idx="248">
                  <c:v>5.4506295559973494E-2</c:v>
                </c:pt>
                <c:pt idx="249">
                  <c:v>2.3939064200217627E-2</c:v>
                </c:pt>
                <c:pt idx="250">
                  <c:v>1.7543014121162465E-2</c:v>
                </c:pt>
                <c:pt idx="251">
                  <c:v>1.9901595912445592E-2</c:v>
                </c:pt>
                <c:pt idx="252">
                  <c:v>1.8332855915210541E-2</c:v>
                </c:pt>
                <c:pt idx="253">
                  <c:v>1.7389166022623481E-2</c:v>
                </c:pt>
                <c:pt idx="254">
                  <c:v>2.1481659074562454E-2</c:v>
                </c:pt>
                <c:pt idx="255">
                  <c:v>4.0645634629493763E-2</c:v>
                </c:pt>
                <c:pt idx="256">
                  <c:v>1.5250836120401338E-2</c:v>
                </c:pt>
                <c:pt idx="257">
                  <c:v>1.0679971959919179E-2</c:v>
                </c:pt>
                <c:pt idx="258">
                  <c:v>1.3586722848052284E-2</c:v>
                </c:pt>
                <c:pt idx="259">
                  <c:v>1.1569191434963247E-2</c:v>
                </c:pt>
                <c:pt idx="260">
                  <c:v>9.5690747782002528E-3</c:v>
                </c:pt>
                <c:pt idx="261">
                  <c:v>1.1765598906937909E-2</c:v>
                </c:pt>
                <c:pt idx="262">
                  <c:v>2.1869954498752384E-2</c:v>
                </c:pt>
                <c:pt idx="263">
                  <c:v>1.2472391840977004E-2</c:v>
                </c:pt>
                <c:pt idx="264">
                  <c:v>8.2022445802449051E-3</c:v>
                </c:pt>
                <c:pt idx="265">
                  <c:v>1.007229592194848E-2</c:v>
                </c:pt>
                <c:pt idx="266">
                  <c:v>8.340418640430787E-3</c:v>
                </c:pt>
                <c:pt idx="267">
                  <c:v>8.8814116358229972E-3</c:v>
                </c:pt>
                <c:pt idx="268">
                  <c:v>8.8888888888888889E-3</c:v>
                </c:pt>
                <c:pt idx="269">
                  <c:v>1.5492957746478873E-2</c:v>
                </c:pt>
                <c:pt idx="270">
                  <c:v>8.8698577764184123E-3</c:v>
                </c:pt>
                <c:pt idx="271">
                  <c:v>5.9534785701114302E-3</c:v>
                </c:pt>
                <c:pt idx="272">
                  <c:v>8.5463258785942499E-3</c:v>
                </c:pt>
                <c:pt idx="273">
                  <c:v>6.6054243219597552E-3</c:v>
                </c:pt>
                <c:pt idx="274">
                  <c:v>6.2458636664460623E-3</c:v>
                </c:pt>
                <c:pt idx="275">
                  <c:v>6.803372939823687E-3</c:v>
                </c:pt>
                <c:pt idx="276">
                  <c:v>1.014054438711973E-2</c:v>
                </c:pt>
                <c:pt idx="277">
                  <c:v>7.2634828400217908E-3</c:v>
                </c:pt>
                <c:pt idx="278">
                  <c:v>4.1821714360983963E-3</c:v>
                </c:pt>
                <c:pt idx="279">
                  <c:v>7.2113009977279466E-3</c:v>
                </c:pt>
                <c:pt idx="280">
                  <c:v>5.0962038481539261E-3</c:v>
                </c:pt>
                <c:pt idx="281">
                  <c:v>3.6719706242350062E-3</c:v>
                </c:pt>
                <c:pt idx="282">
                  <c:v>3.5198509239608676E-3</c:v>
                </c:pt>
                <c:pt idx="283">
                  <c:v>5.073382859213626E-3</c:v>
                </c:pt>
                <c:pt idx="284">
                  <c:v>3.0156815440289505E-3</c:v>
                </c:pt>
                <c:pt idx="285">
                  <c:v>2.472743621445431E-3</c:v>
                </c:pt>
                <c:pt idx="286">
                  <c:v>4.1367898510755651E-3</c:v>
                </c:pt>
                <c:pt idx="287">
                  <c:v>2.1331795906601326E-3</c:v>
                </c:pt>
                <c:pt idx="288">
                  <c:v>1.849796522382538E-3</c:v>
                </c:pt>
                <c:pt idx="289">
                  <c:v>1.5532940546331012E-3</c:v>
                </c:pt>
                <c:pt idx="290">
                  <c:v>2.6401299756295695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691280497940653E-2"/>
                  <c:y val="-8.9243512370193817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1CFE-413A-BD75-2190FD42981C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20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15.83447</c:v>
                </c:pt>
                <c:pt idx="1">
                  <c:v>16.499639999999999</c:v>
                </c:pt>
                <c:pt idx="2">
                  <c:v>22.43872</c:v>
                </c:pt>
                <c:pt idx="3">
                  <c:v>24.021080000000001</c:v>
                </c:pt>
                <c:pt idx="4">
                  <c:v>22.16891</c:v>
                </c:pt>
                <c:pt idx="5">
                  <c:v>18.765129999999999</c:v>
                </c:pt>
                <c:pt idx="6">
                  <c:v>19.389109999999999</c:v>
                </c:pt>
                <c:pt idx="7">
                  <c:v>17.73779</c:v>
                </c:pt>
                <c:pt idx="8">
                  <c:v>14.62687</c:v>
                </c:pt>
                <c:pt idx="9">
                  <c:v>11.719939999999999</c:v>
                </c:pt>
                <c:pt idx="10">
                  <c:v>9.2617449999999995</c:v>
                </c:pt>
                <c:pt idx="11">
                  <c:v>6.7096770000000001</c:v>
                </c:pt>
                <c:pt idx="12">
                  <c:v>2.2458629999999999</c:v>
                </c:pt>
                <c:pt idx="13">
                  <c:v>1.8679950000000001</c:v>
                </c:pt>
                <c:pt idx="14">
                  <c:v>2.0539149999999999</c:v>
                </c:pt>
                <c:pt idx="15">
                  <c:v>0.646204</c:v>
                </c:pt>
                <c:pt idx="16">
                  <c:v>0.552486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8788107867409221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5DC-4226-9A77-4315FCD6D27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20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2.12696</c:v>
                </c:pt>
                <c:pt idx="1">
                  <c:v>24.920300000000001</c:v>
                </c:pt>
                <c:pt idx="2">
                  <c:v>28.3109</c:v>
                </c:pt>
                <c:pt idx="3">
                  <c:v>26.256979999999999</c:v>
                </c:pt>
                <c:pt idx="4">
                  <c:v>25.63758</c:v>
                </c:pt>
                <c:pt idx="5">
                  <c:v>19.732700000000001</c:v>
                </c:pt>
                <c:pt idx="6">
                  <c:v>21.832879999999999</c:v>
                </c:pt>
                <c:pt idx="7">
                  <c:v>17.825189999999999</c:v>
                </c:pt>
                <c:pt idx="8">
                  <c:v>12.45965</c:v>
                </c:pt>
                <c:pt idx="9">
                  <c:v>8.7711860000000001</c:v>
                </c:pt>
                <c:pt idx="10">
                  <c:v>8.7709170000000007</c:v>
                </c:pt>
                <c:pt idx="11">
                  <c:v>4.1744839999999996</c:v>
                </c:pt>
                <c:pt idx="12">
                  <c:v>1.552192</c:v>
                </c:pt>
                <c:pt idx="13">
                  <c:v>0.68863700000000005</c:v>
                </c:pt>
                <c:pt idx="14">
                  <c:v>0.52721799999999996</c:v>
                </c:pt>
                <c:pt idx="15">
                  <c:v>0.15193699999999999</c:v>
                </c:pt>
                <c:pt idx="16">
                  <c:v>0.229226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DC-4226-9A77-4315FCD6D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10939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45</c:v>
                </c:pt>
                <c:pt idx="1">
                  <c:v>44246</c:v>
                </c:pt>
                <c:pt idx="2">
                  <c:v>44247</c:v>
                </c:pt>
                <c:pt idx="3">
                  <c:v>44248</c:v>
                </c:pt>
                <c:pt idx="4">
                  <c:v>44249</c:v>
                </c:pt>
                <c:pt idx="5">
                  <c:v>44250</c:v>
                </c:pt>
                <c:pt idx="6">
                  <c:v>44251</c:v>
                </c:pt>
                <c:pt idx="7">
                  <c:v>44252</c:v>
                </c:pt>
                <c:pt idx="8">
                  <c:v>44253</c:v>
                </c:pt>
                <c:pt idx="9">
                  <c:v>44254</c:v>
                </c:pt>
                <c:pt idx="10">
                  <c:v>44255</c:v>
                </c:pt>
                <c:pt idx="11">
                  <c:v>44256</c:v>
                </c:pt>
                <c:pt idx="12">
                  <c:v>44257</c:v>
                </c:pt>
                <c:pt idx="13">
                  <c:v>44258</c:v>
                </c:pt>
                <c:pt idx="14">
                  <c:v>44259</c:v>
                </c:pt>
                <c:pt idx="15">
                  <c:v>44260</c:v>
                </c:pt>
                <c:pt idx="16">
                  <c:v>44261</c:v>
                </c:pt>
                <c:pt idx="17">
                  <c:v>44262</c:v>
                </c:pt>
                <c:pt idx="18">
                  <c:v>44263</c:v>
                </c:pt>
                <c:pt idx="19">
                  <c:v>44264</c:v>
                </c:pt>
                <c:pt idx="20">
                  <c:v>44265</c:v>
                </c:pt>
                <c:pt idx="21">
                  <c:v>44266</c:v>
                </c:pt>
                <c:pt idx="22">
                  <c:v>44267</c:v>
                </c:pt>
                <c:pt idx="23">
                  <c:v>44268</c:v>
                </c:pt>
                <c:pt idx="24">
                  <c:v>44269</c:v>
                </c:pt>
                <c:pt idx="25">
                  <c:v>44270</c:v>
                </c:pt>
                <c:pt idx="26">
                  <c:v>44271</c:v>
                </c:pt>
                <c:pt idx="27">
                  <c:v>44272</c:v>
                </c:pt>
                <c:pt idx="28">
                  <c:v>44273</c:v>
                </c:pt>
                <c:pt idx="29">
                  <c:v>44274</c:v>
                </c:pt>
                <c:pt idx="30">
                  <c:v>44275</c:v>
                </c:pt>
                <c:pt idx="31">
                  <c:v>44276</c:v>
                </c:pt>
                <c:pt idx="32">
                  <c:v>44277</c:v>
                </c:pt>
                <c:pt idx="33">
                  <c:v>44278</c:v>
                </c:pt>
                <c:pt idx="34">
                  <c:v>44279</c:v>
                </c:pt>
                <c:pt idx="35">
                  <c:v>44280</c:v>
                </c:pt>
                <c:pt idx="36">
                  <c:v>44281</c:v>
                </c:pt>
                <c:pt idx="37">
                  <c:v>44282</c:v>
                </c:pt>
                <c:pt idx="38">
                  <c:v>44283</c:v>
                </c:pt>
                <c:pt idx="39">
                  <c:v>44284</c:v>
                </c:pt>
                <c:pt idx="40">
                  <c:v>44285</c:v>
                </c:pt>
                <c:pt idx="41">
                  <c:v>44286</c:v>
                </c:pt>
                <c:pt idx="42">
                  <c:v>44287</c:v>
                </c:pt>
                <c:pt idx="43">
                  <c:v>44288</c:v>
                </c:pt>
                <c:pt idx="44">
                  <c:v>44289</c:v>
                </c:pt>
                <c:pt idx="45">
                  <c:v>44290</c:v>
                </c:pt>
                <c:pt idx="46">
                  <c:v>44291</c:v>
                </c:pt>
                <c:pt idx="47">
                  <c:v>44292</c:v>
                </c:pt>
                <c:pt idx="48">
                  <c:v>44293</c:v>
                </c:pt>
                <c:pt idx="49">
                  <c:v>44294</c:v>
                </c:pt>
                <c:pt idx="50">
                  <c:v>44295</c:v>
                </c:pt>
                <c:pt idx="51">
                  <c:v>44296</c:v>
                </c:pt>
                <c:pt idx="52">
                  <c:v>44297</c:v>
                </c:pt>
                <c:pt idx="53">
                  <c:v>44298</c:v>
                </c:pt>
                <c:pt idx="54">
                  <c:v>44299</c:v>
                </c:pt>
                <c:pt idx="55">
                  <c:v>44300</c:v>
                </c:pt>
                <c:pt idx="56">
                  <c:v>44301</c:v>
                </c:pt>
                <c:pt idx="57">
                  <c:v>44302</c:v>
                </c:pt>
                <c:pt idx="58">
                  <c:v>44303</c:v>
                </c:pt>
                <c:pt idx="59">
                  <c:v>44304</c:v>
                </c:pt>
                <c:pt idx="60">
                  <c:v>44305</c:v>
                </c:pt>
                <c:pt idx="61">
                  <c:v>44306</c:v>
                </c:pt>
                <c:pt idx="62">
                  <c:v>44307</c:v>
                </c:pt>
                <c:pt idx="63">
                  <c:v>44308</c:v>
                </c:pt>
                <c:pt idx="64">
                  <c:v>44309</c:v>
                </c:pt>
                <c:pt idx="65">
                  <c:v>44310</c:v>
                </c:pt>
                <c:pt idx="66">
                  <c:v>44311</c:v>
                </c:pt>
                <c:pt idx="67">
                  <c:v>44312</c:v>
                </c:pt>
                <c:pt idx="68">
                  <c:v>44313</c:v>
                </c:pt>
                <c:pt idx="69">
                  <c:v>44314</c:v>
                </c:pt>
                <c:pt idx="70">
                  <c:v>44315</c:v>
                </c:pt>
                <c:pt idx="71">
                  <c:v>44316</c:v>
                </c:pt>
                <c:pt idx="72">
                  <c:v>44317</c:v>
                </c:pt>
                <c:pt idx="73">
                  <c:v>44318</c:v>
                </c:pt>
                <c:pt idx="74">
                  <c:v>44319</c:v>
                </c:pt>
                <c:pt idx="75">
                  <c:v>44320</c:v>
                </c:pt>
                <c:pt idx="76">
                  <c:v>44321</c:v>
                </c:pt>
                <c:pt idx="77">
                  <c:v>44322</c:v>
                </c:pt>
                <c:pt idx="78">
                  <c:v>44323</c:v>
                </c:pt>
                <c:pt idx="79">
                  <c:v>44324</c:v>
                </c:pt>
                <c:pt idx="80">
                  <c:v>44325</c:v>
                </c:pt>
                <c:pt idx="81">
                  <c:v>44326</c:v>
                </c:pt>
                <c:pt idx="82">
                  <c:v>44327</c:v>
                </c:pt>
                <c:pt idx="83">
                  <c:v>44328</c:v>
                </c:pt>
                <c:pt idx="84">
                  <c:v>44329</c:v>
                </c:pt>
                <c:pt idx="85">
                  <c:v>44330</c:v>
                </c:pt>
                <c:pt idx="86">
                  <c:v>44331</c:v>
                </c:pt>
                <c:pt idx="87">
                  <c:v>44332</c:v>
                </c:pt>
                <c:pt idx="88">
                  <c:v>44333</c:v>
                </c:pt>
                <c:pt idx="89">
                  <c:v>44334</c:v>
                </c:pt>
                <c:pt idx="90">
                  <c:v>44335</c:v>
                </c:pt>
                <c:pt idx="91">
                  <c:v>44336</c:v>
                </c:pt>
                <c:pt idx="92">
                  <c:v>44337</c:v>
                </c:pt>
                <c:pt idx="93">
                  <c:v>44338</c:v>
                </c:pt>
                <c:pt idx="94">
                  <c:v>44339</c:v>
                </c:pt>
                <c:pt idx="95">
                  <c:v>44340</c:v>
                </c:pt>
                <c:pt idx="96">
                  <c:v>44341</c:v>
                </c:pt>
                <c:pt idx="97">
                  <c:v>44342</c:v>
                </c:pt>
                <c:pt idx="98">
                  <c:v>44343</c:v>
                </c:pt>
                <c:pt idx="99">
                  <c:v>44344</c:v>
                </c:pt>
                <c:pt idx="100">
                  <c:v>44345</c:v>
                </c:pt>
                <c:pt idx="101">
                  <c:v>44346</c:v>
                </c:pt>
                <c:pt idx="102">
                  <c:v>44347</c:v>
                </c:pt>
                <c:pt idx="103">
                  <c:v>44348</c:v>
                </c:pt>
                <c:pt idx="104">
                  <c:v>44349</c:v>
                </c:pt>
                <c:pt idx="105">
                  <c:v>44350</c:v>
                </c:pt>
                <c:pt idx="106">
                  <c:v>44351</c:v>
                </c:pt>
                <c:pt idx="107">
                  <c:v>44352</c:v>
                </c:pt>
                <c:pt idx="108">
                  <c:v>44353</c:v>
                </c:pt>
                <c:pt idx="109">
                  <c:v>44354</c:v>
                </c:pt>
                <c:pt idx="110">
                  <c:v>44355</c:v>
                </c:pt>
                <c:pt idx="111">
                  <c:v>44356</c:v>
                </c:pt>
                <c:pt idx="112">
                  <c:v>44357</c:v>
                </c:pt>
                <c:pt idx="113">
                  <c:v>44358</c:v>
                </c:pt>
                <c:pt idx="114">
                  <c:v>44359</c:v>
                </c:pt>
                <c:pt idx="115">
                  <c:v>44360</c:v>
                </c:pt>
                <c:pt idx="116">
                  <c:v>44361</c:v>
                </c:pt>
                <c:pt idx="117">
                  <c:v>44362</c:v>
                </c:pt>
                <c:pt idx="118">
                  <c:v>44363</c:v>
                </c:pt>
                <c:pt idx="119">
                  <c:v>44364</c:v>
                </c:pt>
                <c:pt idx="120">
                  <c:v>44365</c:v>
                </c:pt>
                <c:pt idx="121">
                  <c:v>44366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11705</c:v>
                </c:pt>
                <c:pt idx="1">
                  <c:v>11287</c:v>
                </c:pt>
                <c:pt idx="2">
                  <c:v>6774</c:v>
                </c:pt>
                <c:pt idx="3">
                  <c:v>4068</c:v>
                </c:pt>
                <c:pt idx="4">
                  <c:v>11410</c:v>
                </c:pt>
                <c:pt idx="5">
                  <c:v>15840</c:v>
                </c:pt>
                <c:pt idx="6">
                  <c:v>13795</c:v>
                </c:pt>
                <c:pt idx="7">
                  <c:v>14588</c:v>
                </c:pt>
                <c:pt idx="8">
                  <c:v>14776</c:v>
                </c:pt>
                <c:pt idx="9">
                  <c:v>7824</c:v>
                </c:pt>
                <c:pt idx="10">
                  <c:v>4588</c:v>
                </c:pt>
                <c:pt idx="11">
                  <c:v>12325</c:v>
                </c:pt>
                <c:pt idx="12">
                  <c:v>16783</c:v>
                </c:pt>
                <c:pt idx="13">
                  <c:v>15240</c:v>
                </c:pt>
                <c:pt idx="14">
                  <c:v>14649</c:v>
                </c:pt>
                <c:pt idx="15">
                  <c:v>13170</c:v>
                </c:pt>
                <c:pt idx="16">
                  <c:v>9131</c:v>
                </c:pt>
                <c:pt idx="17">
                  <c:v>3983</c:v>
                </c:pt>
                <c:pt idx="18">
                  <c:v>10654</c:v>
                </c:pt>
                <c:pt idx="19">
                  <c:v>15361</c:v>
                </c:pt>
                <c:pt idx="20">
                  <c:v>14538</c:v>
                </c:pt>
                <c:pt idx="21">
                  <c:v>11246</c:v>
                </c:pt>
                <c:pt idx="22">
                  <c:v>14977</c:v>
                </c:pt>
                <c:pt idx="23">
                  <c:v>7028</c:v>
                </c:pt>
                <c:pt idx="24">
                  <c:v>3334</c:v>
                </c:pt>
                <c:pt idx="25">
                  <c:v>10630</c:v>
                </c:pt>
                <c:pt idx="26">
                  <c:v>14027</c:v>
                </c:pt>
                <c:pt idx="27">
                  <c:v>12029</c:v>
                </c:pt>
                <c:pt idx="28">
                  <c:v>10661</c:v>
                </c:pt>
                <c:pt idx="29">
                  <c:v>9709</c:v>
                </c:pt>
                <c:pt idx="30">
                  <c:v>5466</c:v>
                </c:pt>
                <c:pt idx="31">
                  <c:v>2391</c:v>
                </c:pt>
                <c:pt idx="32">
                  <c:v>8239</c:v>
                </c:pt>
                <c:pt idx="33">
                  <c:v>10968</c:v>
                </c:pt>
                <c:pt idx="34">
                  <c:v>8851</c:v>
                </c:pt>
                <c:pt idx="35">
                  <c:v>7926</c:v>
                </c:pt>
                <c:pt idx="36">
                  <c:v>7713</c:v>
                </c:pt>
                <c:pt idx="37">
                  <c:v>3970</c:v>
                </c:pt>
                <c:pt idx="38">
                  <c:v>1744</c:v>
                </c:pt>
                <c:pt idx="39">
                  <c:v>6936</c:v>
                </c:pt>
                <c:pt idx="40">
                  <c:v>8630</c:v>
                </c:pt>
                <c:pt idx="41">
                  <c:v>7266</c:v>
                </c:pt>
                <c:pt idx="42">
                  <c:v>6245</c:v>
                </c:pt>
                <c:pt idx="43">
                  <c:v>3837</c:v>
                </c:pt>
                <c:pt idx="44">
                  <c:v>2160</c:v>
                </c:pt>
                <c:pt idx="45">
                  <c:v>1925</c:v>
                </c:pt>
                <c:pt idx="46">
                  <c:v>1419</c:v>
                </c:pt>
                <c:pt idx="47">
                  <c:v>5584</c:v>
                </c:pt>
                <c:pt idx="48">
                  <c:v>7052</c:v>
                </c:pt>
                <c:pt idx="49">
                  <c:v>5283</c:v>
                </c:pt>
                <c:pt idx="50">
                  <c:v>4819</c:v>
                </c:pt>
                <c:pt idx="51">
                  <c:v>2204</c:v>
                </c:pt>
                <c:pt idx="52">
                  <c:v>985</c:v>
                </c:pt>
                <c:pt idx="53">
                  <c:v>3868</c:v>
                </c:pt>
                <c:pt idx="54">
                  <c:v>5055</c:v>
                </c:pt>
                <c:pt idx="55">
                  <c:v>3716</c:v>
                </c:pt>
                <c:pt idx="56">
                  <c:v>3263</c:v>
                </c:pt>
                <c:pt idx="57">
                  <c:v>3217</c:v>
                </c:pt>
                <c:pt idx="58">
                  <c:v>1541</c:v>
                </c:pt>
                <c:pt idx="59">
                  <c:v>833</c:v>
                </c:pt>
                <c:pt idx="60">
                  <c:v>3341</c:v>
                </c:pt>
                <c:pt idx="61">
                  <c:v>3816</c:v>
                </c:pt>
                <c:pt idx="62">
                  <c:v>2951</c:v>
                </c:pt>
                <c:pt idx="63">
                  <c:v>2629</c:v>
                </c:pt>
                <c:pt idx="64">
                  <c:v>2601</c:v>
                </c:pt>
                <c:pt idx="65">
                  <c:v>1308</c:v>
                </c:pt>
                <c:pt idx="66">
                  <c:v>825</c:v>
                </c:pt>
                <c:pt idx="67">
                  <c:v>2579</c:v>
                </c:pt>
                <c:pt idx="68">
                  <c:v>3239</c:v>
                </c:pt>
                <c:pt idx="69">
                  <c:v>2488</c:v>
                </c:pt>
                <c:pt idx="70">
                  <c:v>2229</c:v>
                </c:pt>
                <c:pt idx="71">
                  <c:v>2167</c:v>
                </c:pt>
                <c:pt idx="72">
                  <c:v>1171</c:v>
                </c:pt>
                <c:pt idx="73">
                  <c:v>508</c:v>
                </c:pt>
                <c:pt idx="74">
                  <c:v>2219</c:v>
                </c:pt>
                <c:pt idx="75">
                  <c:v>2415</c:v>
                </c:pt>
                <c:pt idx="76">
                  <c:v>1873</c:v>
                </c:pt>
                <c:pt idx="77">
                  <c:v>1572</c:v>
                </c:pt>
                <c:pt idx="78">
                  <c:v>1638</c:v>
                </c:pt>
                <c:pt idx="79">
                  <c:v>725</c:v>
                </c:pt>
                <c:pt idx="80">
                  <c:v>383</c:v>
                </c:pt>
                <c:pt idx="81">
                  <c:v>1544</c:v>
                </c:pt>
                <c:pt idx="82">
                  <c:v>1690</c:v>
                </c:pt>
                <c:pt idx="83">
                  <c:v>1264</c:v>
                </c:pt>
                <c:pt idx="84">
                  <c:v>1223</c:v>
                </c:pt>
                <c:pt idx="85">
                  <c:v>1051</c:v>
                </c:pt>
                <c:pt idx="86">
                  <c:v>597</c:v>
                </c:pt>
                <c:pt idx="87">
                  <c:v>257</c:v>
                </c:pt>
                <c:pt idx="88">
                  <c:v>1128</c:v>
                </c:pt>
                <c:pt idx="89">
                  <c:v>1198</c:v>
                </c:pt>
                <c:pt idx="90">
                  <c:v>778</c:v>
                </c:pt>
                <c:pt idx="91">
                  <c:v>678</c:v>
                </c:pt>
                <c:pt idx="92">
                  <c:v>671</c:v>
                </c:pt>
                <c:pt idx="93">
                  <c:v>333</c:v>
                </c:pt>
                <c:pt idx="94">
                  <c:v>196</c:v>
                </c:pt>
                <c:pt idx="95">
                  <c:v>696</c:v>
                </c:pt>
                <c:pt idx="96">
                  <c:v>660</c:v>
                </c:pt>
                <c:pt idx="97">
                  <c:v>538</c:v>
                </c:pt>
                <c:pt idx="98">
                  <c:v>506</c:v>
                </c:pt>
                <c:pt idx="99">
                  <c:v>452</c:v>
                </c:pt>
                <c:pt idx="100">
                  <c:v>222</c:v>
                </c:pt>
                <c:pt idx="101">
                  <c:v>112</c:v>
                </c:pt>
                <c:pt idx="102">
                  <c:v>511</c:v>
                </c:pt>
                <c:pt idx="103">
                  <c:v>477</c:v>
                </c:pt>
                <c:pt idx="104">
                  <c:v>350</c:v>
                </c:pt>
                <c:pt idx="105">
                  <c:v>423</c:v>
                </c:pt>
                <c:pt idx="106">
                  <c:v>319</c:v>
                </c:pt>
                <c:pt idx="107">
                  <c:v>152</c:v>
                </c:pt>
                <c:pt idx="108">
                  <c:v>96</c:v>
                </c:pt>
                <c:pt idx="109">
                  <c:v>294</c:v>
                </c:pt>
                <c:pt idx="110">
                  <c:v>384</c:v>
                </c:pt>
                <c:pt idx="111">
                  <c:v>250</c:v>
                </c:pt>
                <c:pt idx="112">
                  <c:v>190</c:v>
                </c:pt>
                <c:pt idx="113">
                  <c:v>179</c:v>
                </c:pt>
                <c:pt idx="114">
                  <c:v>73</c:v>
                </c:pt>
                <c:pt idx="115">
                  <c:v>41</c:v>
                </c:pt>
                <c:pt idx="116">
                  <c:v>176</c:v>
                </c:pt>
                <c:pt idx="117">
                  <c:v>207</c:v>
                </c:pt>
                <c:pt idx="118">
                  <c:v>131</c:v>
                </c:pt>
                <c:pt idx="119">
                  <c:v>161</c:v>
                </c:pt>
                <c:pt idx="120">
                  <c:v>147</c:v>
                </c:pt>
                <c:pt idx="121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8E-4EA0-96EE-517E285EEC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6.2550406639208522E-2"/>
                  <c:y val="-0.20666918654150146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3BA-40DA-B60C-C8A480E48534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20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31.461790000000001</c:v>
                </c:pt>
                <c:pt idx="1">
                  <c:v>27.40343</c:v>
                </c:pt>
                <c:pt idx="2">
                  <c:v>29.592549999999999</c:v>
                </c:pt>
                <c:pt idx="3">
                  <c:v>25.38691</c:v>
                </c:pt>
                <c:pt idx="4">
                  <c:v>22.757259999999999</c:v>
                </c:pt>
                <c:pt idx="5">
                  <c:v>18.275860000000002</c:v>
                </c:pt>
                <c:pt idx="6">
                  <c:v>17.158069999999999</c:v>
                </c:pt>
                <c:pt idx="7">
                  <c:v>15.023289999999999</c:v>
                </c:pt>
                <c:pt idx="8">
                  <c:v>12.830870000000001</c:v>
                </c:pt>
                <c:pt idx="9">
                  <c:v>10.49408</c:v>
                </c:pt>
                <c:pt idx="10">
                  <c:v>5.9348330000000002</c:v>
                </c:pt>
                <c:pt idx="11">
                  <c:v>4.1142859999999999</c:v>
                </c:pt>
                <c:pt idx="12">
                  <c:v>1.772753</c:v>
                </c:pt>
                <c:pt idx="13">
                  <c:v>1.001768</c:v>
                </c:pt>
                <c:pt idx="14">
                  <c:v>1.123291</c:v>
                </c:pt>
                <c:pt idx="15">
                  <c:v>0.66555699999999995</c:v>
                </c:pt>
                <c:pt idx="16">
                  <c:v>0.66637100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BA-40DA-B60C-C8A480E485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3.9094004149505319E-2"/>
                  <c:y val="-0.1221227011381599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,43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1CE-4A2A-887C-F4A54C3D8656}"/>
                </c:ext>
              </c:extLst>
            </c:dLbl>
            <c:spPr>
              <a:solidFill>
                <a:srgbClr val="FBCBD8"/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20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16.32151</c:v>
                </c:pt>
                <c:pt idx="1">
                  <c:v>19.527149999999999</c:v>
                </c:pt>
                <c:pt idx="2">
                  <c:v>27.315059999999999</c:v>
                </c:pt>
                <c:pt idx="3">
                  <c:v>30.11702</c:v>
                </c:pt>
                <c:pt idx="4">
                  <c:v>31.028089999999999</c:v>
                </c:pt>
                <c:pt idx="5">
                  <c:v>29.778390000000002</c:v>
                </c:pt>
                <c:pt idx="6">
                  <c:v>27.678570000000001</c:v>
                </c:pt>
                <c:pt idx="7">
                  <c:v>23.983229999999999</c:v>
                </c:pt>
                <c:pt idx="8">
                  <c:v>20.825240000000001</c:v>
                </c:pt>
                <c:pt idx="9">
                  <c:v>20.40916</c:v>
                </c:pt>
                <c:pt idx="10">
                  <c:v>20.271100000000001</c:v>
                </c:pt>
                <c:pt idx="11">
                  <c:v>14.52087</c:v>
                </c:pt>
                <c:pt idx="12">
                  <c:v>9.5261119999999995</c:v>
                </c:pt>
                <c:pt idx="13">
                  <c:v>8.0027360000000005</c:v>
                </c:pt>
                <c:pt idx="14">
                  <c:v>5.5332800000000004</c:v>
                </c:pt>
                <c:pt idx="15">
                  <c:v>3.6803360000000001</c:v>
                </c:pt>
                <c:pt idx="16">
                  <c:v>1.434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E-4A2A-887C-F4A54C3D8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0.10333459327075069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62E-4708-B3D9-CEE9753FE499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20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4.046430000000001</c:v>
                </c:pt>
                <c:pt idx="1">
                  <c:v>25.376650000000001</c:v>
                </c:pt>
                <c:pt idx="2">
                  <c:v>30.315999999999999</c:v>
                </c:pt>
                <c:pt idx="3">
                  <c:v>30.571899999999999</c:v>
                </c:pt>
                <c:pt idx="4">
                  <c:v>28.96442</c:v>
                </c:pt>
                <c:pt idx="5">
                  <c:v>26.6341</c:v>
                </c:pt>
                <c:pt idx="6">
                  <c:v>25.093710000000002</c:v>
                </c:pt>
                <c:pt idx="7">
                  <c:v>19.00281</c:v>
                </c:pt>
                <c:pt idx="8">
                  <c:v>12.0466</c:v>
                </c:pt>
                <c:pt idx="9">
                  <c:v>8.4681929999999994</c:v>
                </c:pt>
                <c:pt idx="10">
                  <c:v>8.841386</c:v>
                </c:pt>
                <c:pt idx="11">
                  <c:v>5.8526740000000004</c:v>
                </c:pt>
                <c:pt idx="12">
                  <c:v>2.7155659999999999</c:v>
                </c:pt>
                <c:pt idx="13">
                  <c:v>2.390676</c:v>
                </c:pt>
                <c:pt idx="14">
                  <c:v>1.3062510000000001</c:v>
                </c:pt>
                <c:pt idx="15">
                  <c:v>0.83089800000000003</c:v>
                </c:pt>
                <c:pt idx="16">
                  <c:v>0.287266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2E-4708-B3D9-CEE9753FE4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1.1728201244851596E-2"/>
                  <c:y val="-9.3940539337046075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F29-438D-8691-E33F037B41E3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20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32.297919999999998</c:v>
                </c:pt>
                <c:pt idx="1">
                  <c:v>31.330469999999998</c:v>
                </c:pt>
                <c:pt idx="2">
                  <c:v>31.086200000000002</c:v>
                </c:pt>
                <c:pt idx="3">
                  <c:v>28.642859999999999</c:v>
                </c:pt>
                <c:pt idx="4">
                  <c:v>24.887499999999999</c:v>
                </c:pt>
                <c:pt idx="5">
                  <c:v>23.048919999999999</c:v>
                </c:pt>
                <c:pt idx="6">
                  <c:v>19.38531</c:v>
                </c:pt>
                <c:pt idx="7">
                  <c:v>17.0456</c:v>
                </c:pt>
                <c:pt idx="8">
                  <c:v>12.922029999999999</c:v>
                </c:pt>
                <c:pt idx="9">
                  <c:v>10.47856</c:v>
                </c:pt>
                <c:pt idx="10">
                  <c:v>7.0996499999999996</c:v>
                </c:pt>
                <c:pt idx="11">
                  <c:v>4.0171640000000002</c:v>
                </c:pt>
                <c:pt idx="12">
                  <c:v>1.987468</c:v>
                </c:pt>
                <c:pt idx="13">
                  <c:v>1.8004830000000001</c:v>
                </c:pt>
                <c:pt idx="14">
                  <c:v>1.421672</c:v>
                </c:pt>
                <c:pt idx="15">
                  <c:v>1.2202120000000001</c:v>
                </c:pt>
                <c:pt idx="16">
                  <c:v>0.474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29-438D-8691-E33F037B4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691280497940653E-2"/>
                  <c:y val="-8.9243512370193817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1CFE-413A-BD75-2190FD42981C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20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8.892330000000001</c:v>
                </c:pt>
                <c:pt idx="1">
                  <c:v>28.331890000000001</c:v>
                </c:pt>
                <c:pt idx="2">
                  <c:v>27.00714</c:v>
                </c:pt>
                <c:pt idx="3">
                  <c:v>24.7972</c:v>
                </c:pt>
                <c:pt idx="4">
                  <c:v>21.901050000000001</c:v>
                </c:pt>
                <c:pt idx="5">
                  <c:v>18.910990000000002</c:v>
                </c:pt>
                <c:pt idx="6">
                  <c:v>16.432980000000001</c:v>
                </c:pt>
                <c:pt idx="7">
                  <c:v>11.0802</c:v>
                </c:pt>
                <c:pt idx="8">
                  <c:v>9.3638490000000001</c:v>
                </c:pt>
                <c:pt idx="9">
                  <c:v>8.2100589999999993</c:v>
                </c:pt>
                <c:pt idx="10">
                  <c:v>6.1075429999999997</c:v>
                </c:pt>
                <c:pt idx="11">
                  <c:v>4.9224639999999997</c:v>
                </c:pt>
                <c:pt idx="12">
                  <c:v>2.7970169999999999</c:v>
                </c:pt>
                <c:pt idx="13">
                  <c:v>2.253479</c:v>
                </c:pt>
                <c:pt idx="14">
                  <c:v>1.5097689999999999</c:v>
                </c:pt>
                <c:pt idx="15">
                  <c:v>0.95685500000000001</c:v>
                </c:pt>
                <c:pt idx="16">
                  <c:v>1.052059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8788107867409221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5DC-4226-9A77-4315FCD6D27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20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37.314819999999997</c:v>
                </c:pt>
                <c:pt idx="1">
                  <c:v>36.564570000000003</c:v>
                </c:pt>
                <c:pt idx="2">
                  <c:v>35.0381</c:v>
                </c:pt>
                <c:pt idx="3">
                  <c:v>32.275829999999999</c:v>
                </c:pt>
                <c:pt idx="4">
                  <c:v>27.090479999999999</c:v>
                </c:pt>
                <c:pt idx="5">
                  <c:v>23.212769999999999</c:v>
                </c:pt>
                <c:pt idx="6">
                  <c:v>20.95177</c:v>
                </c:pt>
                <c:pt idx="7">
                  <c:v>14.980309999999999</c:v>
                </c:pt>
                <c:pt idx="8">
                  <c:v>13.61199</c:v>
                </c:pt>
                <c:pt idx="9">
                  <c:v>11.58719</c:v>
                </c:pt>
                <c:pt idx="10">
                  <c:v>8.4140549999999994</c:v>
                </c:pt>
                <c:pt idx="11">
                  <c:v>6.2921800000000001</c:v>
                </c:pt>
                <c:pt idx="12">
                  <c:v>3.8388260000000001</c:v>
                </c:pt>
                <c:pt idx="13">
                  <c:v>2.9244479999999999</c:v>
                </c:pt>
                <c:pt idx="14">
                  <c:v>1.918561</c:v>
                </c:pt>
                <c:pt idx="15">
                  <c:v>1.2203109999999999</c:v>
                </c:pt>
                <c:pt idx="16">
                  <c:v>0.596817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DC-4226-9A77-4315FCD6D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6.2550406639208522E-2"/>
                  <c:y val="-0.20666918654150146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3BA-40DA-B60C-C8A480E48534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20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37.931179999999998</c:v>
                </c:pt>
                <c:pt idx="1">
                  <c:v>38.925620000000002</c:v>
                </c:pt>
                <c:pt idx="2">
                  <c:v>37.271949999999997</c:v>
                </c:pt>
                <c:pt idx="3">
                  <c:v>33.997309999999999</c:v>
                </c:pt>
                <c:pt idx="4">
                  <c:v>29.335159999999998</c:v>
                </c:pt>
                <c:pt idx="5">
                  <c:v>26.149149999999999</c:v>
                </c:pt>
                <c:pt idx="6">
                  <c:v>21.482009999999999</c:v>
                </c:pt>
                <c:pt idx="7">
                  <c:v>16.601459999999999</c:v>
                </c:pt>
                <c:pt idx="8">
                  <c:v>13.72983</c:v>
                </c:pt>
                <c:pt idx="9">
                  <c:v>11.977959999999999</c:v>
                </c:pt>
                <c:pt idx="10">
                  <c:v>9.1726120000000009</c:v>
                </c:pt>
                <c:pt idx="11">
                  <c:v>6.3134160000000001</c:v>
                </c:pt>
                <c:pt idx="12">
                  <c:v>4.2053459999999996</c:v>
                </c:pt>
                <c:pt idx="13">
                  <c:v>3.1805430000000001</c:v>
                </c:pt>
                <c:pt idx="14">
                  <c:v>2.0230779999999999</c:v>
                </c:pt>
                <c:pt idx="15">
                  <c:v>1.1320749999999999</c:v>
                </c:pt>
                <c:pt idx="16">
                  <c:v>1.179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BA-40DA-B60C-C8A480E485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6.2550406639208522E-2"/>
                  <c:y val="-0.20666918654150146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15D-47A4-8BD1-D450E76D7BBA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20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5.971319999999999</c:v>
                </c:pt>
                <c:pt idx="1">
                  <c:v>25.14378</c:v>
                </c:pt>
                <c:pt idx="2">
                  <c:v>21.2608</c:v>
                </c:pt>
                <c:pt idx="3">
                  <c:v>19.330960000000001</c:v>
                </c:pt>
                <c:pt idx="4">
                  <c:v>16.997720000000001</c:v>
                </c:pt>
                <c:pt idx="5">
                  <c:v>14.816739999999999</c:v>
                </c:pt>
                <c:pt idx="6">
                  <c:v>11.69454</c:v>
                </c:pt>
                <c:pt idx="7">
                  <c:v>9.0186489999999999</c:v>
                </c:pt>
                <c:pt idx="8">
                  <c:v>7.1186220000000002</c:v>
                </c:pt>
                <c:pt idx="9">
                  <c:v>6.1943320000000002</c:v>
                </c:pt>
                <c:pt idx="10">
                  <c:v>4.0830859999999998</c:v>
                </c:pt>
                <c:pt idx="11">
                  <c:v>2.8127409999999999</c:v>
                </c:pt>
                <c:pt idx="12">
                  <c:v>1.7779180000000001</c:v>
                </c:pt>
                <c:pt idx="13">
                  <c:v>1.4568160000000001</c:v>
                </c:pt>
                <c:pt idx="14">
                  <c:v>1.3240419999999999</c:v>
                </c:pt>
                <c:pt idx="15">
                  <c:v>0.74864299999999995</c:v>
                </c:pt>
                <c:pt idx="16">
                  <c:v>0.569551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15D-47A4-8BD1-D450E76D7B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8788107867409221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742-4A7E-A719-32D9F8404D88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20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18.76746</c:v>
                </c:pt>
                <c:pt idx="1">
                  <c:v>16.68554</c:v>
                </c:pt>
                <c:pt idx="2">
                  <c:v>11.514049999999999</c:v>
                </c:pt>
                <c:pt idx="3">
                  <c:v>9.9989869999999996</c:v>
                </c:pt>
                <c:pt idx="4">
                  <c:v>7.8813190000000004</c:v>
                </c:pt>
                <c:pt idx="5">
                  <c:v>6.539841</c:v>
                </c:pt>
                <c:pt idx="6">
                  <c:v>4.7714610000000004</c:v>
                </c:pt>
                <c:pt idx="7">
                  <c:v>3.5538050000000001</c:v>
                </c:pt>
                <c:pt idx="8">
                  <c:v>3.0794670000000002</c:v>
                </c:pt>
                <c:pt idx="9">
                  <c:v>2.6884250000000001</c:v>
                </c:pt>
                <c:pt idx="10">
                  <c:v>1.917151</c:v>
                </c:pt>
                <c:pt idx="11">
                  <c:v>1.3804259999999999</c:v>
                </c:pt>
                <c:pt idx="12">
                  <c:v>0.86052899999999999</c:v>
                </c:pt>
                <c:pt idx="13">
                  <c:v>0.64141000000000004</c:v>
                </c:pt>
                <c:pt idx="14">
                  <c:v>0.49325999999999998</c:v>
                </c:pt>
                <c:pt idx="15">
                  <c:v>0.34018900000000002</c:v>
                </c:pt>
                <c:pt idx="16">
                  <c:v>0.197646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742-4A7E-A719-32D9F8404D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691280497940653E-2"/>
                  <c:y val="-8.9243512370193817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C63-470C-BF82-681BC2B532FA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1.02 - 27.02</c:v>
                </c:pt>
                <c:pt idx="1">
                  <c:v>28.02 - 06.03</c:v>
                </c:pt>
                <c:pt idx="2">
                  <c:v>07.03 - 13.03</c:v>
                </c:pt>
                <c:pt idx="3">
                  <c:v>14.03 - 20.03</c:v>
                </c:pt>
                <c:pt idx="4">
                  <c:v>21.03 - 27.03</c:v>
                </c:pt>
                <c:pt idx="5">
                  <c:v>28.03 - 03.04</c:v>
                </c:pt>
                <c:pt idx="6">
                  <c:v>04.04 - 10.04</c:v>
                </c:pt>
                <c:pt idx="7">
                  <c:v>11.04 - 17.04</c:v>
                </c:pt>
                <c:pt idx="8">
                  <c:v>18.04 - 24.04</c:v>
                </c:pt>
                <c:pt idx="9">
                  <c:v>25.04 - 01.05</c:v>
                </c:pt>
                <c:pt idx="10">
                  <c:v>02.05 - 08.05</c:v>
                </c:pt>
                <c:pt idx="11">
                  <c:v>09.05 - 15.05</c:v>
                </c:pt>
                <c:pt idx="12">
                  <c:v>16.05 - 22.05</c:v>
                </c:pt>
                <c:pt idx="13">
                  <c:v>23.05 - 29.05</c:v>
                </c:pt>
                <c:pt idx="14">
                  <c:v>30.05 - 05.06</c:v>
                </c:pt>
                <c:pt idx="15">
                  <c:v>06.06 - 12.06</c:v>
                </c:pt>
                <c:pt idx="16">
                  <c:v>13.06 - 20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18.258240000000001</c:v>
                </c:pt>
                <c:pt idx="1">
                  <c:v>16.72392</c:v>
                </c:pt>
                <c:pt idx="2">
                  <c:v>11.628439999999999</c:v>
                </c:pt>
                <c:pt idx="3">
                  <c:v>10.73687</c:v>
                </c:pt>
                <c:pt idx="4">
                  <c:v>8.4915310000000002</c:v>
                </c:pt>
                <c:pt idx="5">
                  <c:v>6.8814060000000001</c:v>
                </c:pt>
                <c:pt idx="6">
                  <c:v>5.2119910000000003</c:v>
                </c:pt>
                <c:pt idx="7">
                  <c:v>3.9210020000000001</c:v>
                </c:pt>
                <c:pt idx="8">
                  <c:v>3.1969150000000002</c:v>
                </c:pt>
                <c:pt idx="9">
                  <c:v>2.5867279999999999</c:v>
                </c:pt>
                <c:pt idx="10">
                  <c:v>1.868255</c:v>
                </c:pt>
                <c:pt idx="11">
                  <c:v>1.191935</c:v>
                </c:pt>
                <c:pt idx="12">
                  <c:v>0.67472900000000002</c:v>
                </c:pt>
                <c:pt idx="13">
                  <c:v>0.46139799999999997</c:v>
                </c:pt>
                <c:pt idx="14">
                  <c:v>0.36507099999999998</c:v>
                </c:pt>
                <c:pt idx="15">
                  <c:v>0.24062</c:v>
                </c:pt>
                <c:pt idx="16">
                  <c:v>0.135732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C63-470C-BF82-681BC2B532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636549528083226"/>
          <c:y val="0.20299240246086112"/>
          <c:w val="0.72027953981972681"/>
          <c:h val="0.7505336593398659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čkovaní dokončeno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80 a více let</c:v>
                </c:pt>
                <c:pt idx="4">
                  <c:v>70–79 let</c:v>
                </c:pt>
                <c:pt idx="5">
                  <c:v>65–69 let</c:v>
                </c:pt>
                <c:pt idx="6">
                  <c:v>60–64 let</c:v>
                </c:pt>
                <c:pt idx="7">
                  <c:v>55–59 let</c:v>
                </c:pt>
                <c:pt idx="8">
                  <c:v>50–54 let</c:v>
                </c:pt>
                <c:pt idx="9">
                  <c:v>45–49 let</c:v>
                </c:pt>
                <c:pt idx="10">
                  <c:v>40–44 let</c:v>
                </c:pt>
                <c:pt idx="11">
                  <c:v>35–39 let</c:v>
                </c:pt>
                <c:pt idx="12">
                  <c:v>30–34 let</c:v>
                </c:pt>
                <c:pt idx="13">
                  <c:v>16–29 let</c:v>
                </c:pt>
                <c:pt idx="14">
                  <c:v>do 16 let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23.657330000000002</c:v>
                </c:pt>
                <c:pt idx="1">
                  <c:v>29.14189</c:v>
                </c:pt>
                <c:pt idx="2">
                  <c:v>28.516590000000001</c:v>
                </c:pt>
                <c:pt idx="3">
                  <c:v>70.837900000000005</c:v>
                </c:pt>
                <c:pt idx="4">
                  <c:v>66.929000000000002</c:v>
                </c:pt>
                <c:pt idx="5">
                  <c:v>54.057000000000002</c:v>
                </c:pt>
                <c:pt idx="6">
                  <c:v>45.472090000000001</c:v>
                </c:pt>
                <c:pt idx="7">
                  <c:v>36.75121</c:v>
                </c:pt>
                <c:pt idx="8">
                  <c:v>21.793469999999999</c:v>
                </c:pt>
                <c:pt idx="9">
                  <c:v>15.92797</c:v>
                </c:pt>
                <c:pt idx="10">
                  <c:v>13.21485</c:v>
                </c:pt>
                <c:pt idx="11">
                  <c:v>10.259919999999999</c:v>
                </c:pt>
                <c:pt idx="12">
                  <c:v>7.788786</c:v>
                </c:pt>
                <c:pt idx="13">
                  <c:v>5.60106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6C-43B5-BDA2-1A9D9441837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Očkovaní 1. dávkou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80 a více let</c:v>
                </c:pt>
                <c:pt idx="4">
                  <c:v>70–79 let</c:v>
                </c:pt>
                <c:pt idx="5">
                  <c:v>65–69 let</c:v>
                </c:pt>
                <c:pt idx="6">
                  <c:v>60–64 let</c:v>
                </c:pt>
                <c:pt idx="7">
                  <c:v>55–59 let</c:v>
                </c:pt>
                <c:pt idx="8">
                  <c:v>50–54 let</c:v>
                </c:pt>
                <c:pt idx="9">
                  <c:v>45–49 let</c:v>
                </c:pt>
                <c:pt idx="10">
                  <c:v>40–44 let</c:v>
                </c:pt>
                <c:pt idx="11">
                  <c:v>35–39 let</c:v>
                </c:pt>
                <c:pt idx="12">
                  <c:v>30–34 let</c:v>
                </c:pt>
                <c:pt idx="13">
                  <c:v>16–29 let</c:v>
                </c:pt>
                <c:pt idx="14">
                  <c:v>do 16 let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20.990819999999999</c:v>
                </c:pt>
                <c:pt idx="1">
                  <c:v>25.652519999999999</c:v>
                </c:pt>
                <c:pt idx="2">
                  <c:v>25.30237</c:v>
                </c:pt>
                <c:pt idx="3">
                  <c:v>8.5273260000000004</c:v>
                </c:pt>
                <c:pt idx="4">
                  <c:v>14.50705</c:v>
                </c:pt>
                <c:pt idx="5">
                  <c:v>20.73085</c:v>
                </c:pt>
                <c:pt idx="6">
                  <c:v>22.413399999999999</c:v>
                </c:pt>
                <c:pt idx="7">
                  <c:v>26.727370000000001</c:v>
                </c:pt>
                <c:pt idx="8">
                  <c:v>38.463979999999999</c:v>
                </c:pt>
                <c:pt idx="9">
                  <c:v>41.766010000000001</c:v>
                </c:pt>
                <c:pt idx="10">
                  <c:v>37.170070000000003</c:v>
                </c:pt>
                <c:pt idx="11">
                  <c:v>29.715119999999999</c:v>
                </c:pt>
                <c:pt idx="12">
                  <c:v>24.9373</c:v>
                </c:pt>
                <c:pt idx="13">
                  <c:v>15.442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6C-43B5-BDA2-1A9D9441837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80 a více let</c:v>
                </c:pt>
                <c:pt idx="4">
                  <c:v>70–79 let</c:v>
                </c:pt>
                <c:pt idx="5">
                  <c:v>65–69 let</c:v>
                </c:pt>
                <c:pt idx="6">
                  <c:v>60–64 let</c:v>
                </c:pt>
                <c:pt idx="7">
                  <c:v>55–59 let</c:v>
                </c:pt>
                <c:pt idx="8">
                  <c:v>50–54 let</c:v>
                </c:pt>
                <c:pt idx="9">
                  <c:v>45–49 let</c:v>
                </c:pt>
                <c:pt idx="10">
                  <c:v>40–44 let</c:v>
                </c:pt>
                <c:pt idx="11">
                  <c:v>35–39 let</c:v>
                </c:pt>
                <c:pt idx="12">
                  <c:v>30–34 let</c:v>
                </c:pt>
                <c:pt idx="13">
                  <c:v>16–29 let</c:v>
                </c:pt>
                <c:pt idx="14">
                  <c:v>do 16 let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0">
                  <c:v>8.8866639999999997</c:v>
                </c:pt>
                <c:pt idx="1">
                  <c:v>8.4871210000000001</c:v>
                </c:pt>
                <c:pt idx="2">
                  <c:v>8.5480090000000004</c:v>
                </c:pt>
                <c:pt idx="3">
                  <c:v>4.710788</c:v>
                </c:pt>
                <c:pt idx="4">
                  <c:v>3.2881089999999999</c:v>
                </c:pt>
                <c:pt idx="5">
                  <c:v>4.5012179999999997</c:v>
                </c:pt>
                <c:pt idx="6">
                  <c:v>6.475822</c:v>
                </c:pt>
                <c:pt idx="7">
                  <c:v>8.5617699999999992</c:v>
                </c:pt>
                <c:pt idx="8">
                  <c:v>9.4396769999999997</c:v>
                </c:pt>
                <c:pt idx="9">
                  <c:v>9.9313830000000003</c:v>
                </c:pt>
                <c:pt idx="10">
                  <c:v>9.5991250000000008</c:v>
                </c:pt>
                <c:pt idx="11">
                  <c:v>10.352309999999999</c:v>
                </c:pt>
                <c:pt idx="12">
                  <c:v>11.22583</c:v>
                </c:pt>
                <c:pt idx="13">
                  <c:v>11.99919</c:v>
                </c:pt>
                <c:pt idx="14">
                  <c:v>10.53541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6C-43B5-BDA2-1A9D94418370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Mají rezervaci termínu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80 a více let</c:v>
                </c:pt>
                <c:pt idx="4">
                  <c:v>70–79 let</c:v>
                </c:pt>
                <c:pt idx="5">
                  <c:v>65–69 let</c:v>
                </c:pt>
                <c:pt idx="6">
                  <c:v>60–64 let</c:v>
                </c:pt>
                <c:pt idx="7">
                  <c:v>55–59 let</c:v>
                </c:pt>
                <c:pt idx="8">
                  <c:v>50–54 let</c:v>
                </c:pt>
                <c:pt idx="9">
                  <c:v>45–49 let</c:v>
                </c:pt>
                <c:pt idx="10">
                  <c:v>40–44 let</c:v>
                </c:pt>
                <c:pt idx="11">
                  <c:v>35–39 let</c:v>
                </c:pt>
                <c:pt idx="12">
                  <c:v>30–34 let</c:v>
                </c:pt>
                <c:pt idx="13">
                  <c:v>16–29 let</c:v>
                </c:pt>
                <c:pt idx="14">
                  <c:v>do 16 let</c:v>
                </c:pt>
              </c:strCache>
            </c:strRef>
          </c:cat>
          <c:val>
            <c:numRef>
              <c:f>List1!$E$2:$E$16</c:f>
              <c:numCache>
                <c:formatCode>General</c:formatCode>
                <c:ptCount val="15"/>
                <c:pt idx="0">
                  <c:v>3.0357949</c:v>
                </c:pt>
                <c:pt idx="1">
                  <c:v>3.5684672000000002</c:v>
                </c:pt>
                <c:pt idx="2">
                  <c:v>3.6593520000000002</c:v>
                </c:pt>
                <c:pt idx="3">
                  <c:v>1.7460438</c:v>
                </c:pt>
                <c:pt idx="4">
                  <c:v>1.3085792999999999</c:v>
                </c:pt>
                <c:pt idx="5">
                  <c:v>1.2629049000000001</c:v>
                </c:pt>
                <c:pt idx="6">
                  <c:v>1.5449306</c:v>
                </c:pt>
                <c:pt idx="7">
                  <c:v>1.9239010000000001</c:v>
                </c:pt>
                <c:pt idx="8">
                  <c:v>2.1949607000000002</c:v>
                </c:pt>
                <c:pt idx="9">
                  <c:v>2.5245131999999999</c:v>
                </c:pt>
                <c:pt idx="10">
                  <c:v>3.0717960999999998</c:v>
                </c:pt>
                <c:pt idx="11">
                  <c:v>4.6006292000000002</c:v>
                </c:pt>
                <c:pt idx="12">
                  <c:v>5.5958081999999996</c:v>
                </c:pt>
                <c:pt idx="13">
                  <c:v>8.9309986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6C-43B5-BDA2-1A9D94418370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Registrovaní, čekají na termín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80 a více let</c:v>
                </c:pt>
                <c:pt idx="4">
                  <c:v>70–79 let</c:v>
                </c:pt>
                <c:pt idx="5">
                  <c:v>65–69 let</c:v>
                </c:pt>
                <c:pt idx="6">
                  <c:v>60–64 let</c:v>
                </c:pt>
                <c:pt idx="7">
                  <c:v>55–59 let</c:v>
                </c:pt>
                <c:pt idx="8">
                  <c:v>50–54 let</c:v>
                </c:pt>
                <c:pt idx="9">
                  <c:v>45–49 let</c:v>
                </c:pt>
                <c:pt idx="10">
                  <c:v>40–44 let</c:v>
                </c:pt>
                <c:pt idx="11">
                  <c:v>35–39 let</c:v>
                </c:pt>
                <c:pt idx="12">
                  <c:v>30–34 let</c:v>
                </c:pt>
                <c:pt idx="13">
                  <c:v>16–29 let</c:v>
                </c:pt>
                <c:pt idx="14">
                  <c:v>do 16 let</c:v>
                </c:pt>
              </c:strCache>
            </c:strRef>
          </c:cat>
          <c:val>
            <c:numRef>
              <c:f>List1!$F$2:$F$16</c:f>
              <c:numCache>
                <c:formatCode>General</c:formatCode>
                <c:ptCount val="15"/>
                <c:pt idx="0">
                  <c:v>3.4511558</c:v>
                </c:pt>
                <c:pt idx="1">
                  <c:v>3.9210459000000002</c:v>
                </c:pt>
                <c:pt idx="2">
                  <c:v>4.1600286999999998</c:v>
                </c:pt>
                <c:pt idx="3">
                  <c:v>7.1019337</c:v>
                </c:pt>
                <c:pt idx="4">
                  <c:v>5.3295621000000004</c:v>
                </c:pt>
                <c:pt idx="5">
                  <c:v>3.7464791000000002</c:v>
                </c:pt>
                <c:pt idx="6">
                  <c:v>3.2494223999999998</c:v>
                </c:pt>
                <c:pt idx="7">
                  <c:v>3.1428943</c:v>
                </c:pt>
                <c:pt idx="8">
                  <c:v>2.7880877000000002</c:v>
                </c:pt>
                <c:pt idx="9">
                  <c:v>2.3502526000000001</c:v>
                </c:pt>
                <c:pt idx="10">
                  <c:v>2.3593981999999998</c:v>
                </c:pt>
                <c:pt idx="11">
                  <c:v>2.6472500999999999</c:v>
                </c:pt>
                <c:pt idx="12">
                  <c:v>3.6703104999999998</c:v>
                </c:pt>
                <c:pt idx="13">
                  <c:v>7.2860237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5B6C-43B5-BDA2-1A9D94418370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80 a více let</c:v>
                </c:pt>
                <c:pt idx="4">
                  <c:v>70–79 let</c:v>
                </c:pt>
                <c:pt idx="5">
                  <c:v>65–69 let</c:v>
                </c:pt>
                <c:pt idx="6">
                  <c:v>60–64 let</c:v>
                </c:pt>
                <c:pt idx="7">
                  <c:v>55–59 let</c:v>
                </c:pt>
                <c:pt idx="8">
                  <c:v>50–54 let</c:v>
                </c:pt>
                <c:pt idx="9">
                  <c:v>45–49 let</c:v>
                </c:pt>
                <c:pt idx="10">
                  <c:v>40–44 let</c:v>
                </c:pt>
                <c:pt idx="11">
                  <c:v>35–39 let</c:v>
                </c:pt>
                <c:pt idx="12">
                  <c:v>30–34 let</c:v>
                </c:pt>
                <c:pt idx="13">
                  <c:v>16–29 let</c:v>
                </c:pt>
                <c:pt idx="14">
                  <c:v>do 16 let</c:v>
                </c:pt>
              </c:strCache>
            </c:strRef>
          </c:cat>
          <c:val>
            <c:numRef>
              <c:f>List1!$G$2:$G$16</c:f>
              <c:numCache>
                <c:formatCode>General</c:formatCode>
                <c:ptCount val="15"/>
                <c:pt idx="0">
                  <c:v>39.978229800000001</c:v>
                </c:pt>
                <c:pt idx="1">
                  <c:v>29.228963400000001</c:v>
                </c:pt>
                <c:pt idx="2">
                  <c:v>29.813653299999999</c:v>
                </c:pt>
                <c:pt idx="3">
                  <c:v>7.0760134600000004</c:v>
                </c:pt>
                <c:pt idx="4">
                  <c:v>8.6377022599999993</c:v>
                </c:pt>
                <c:pt idx="5">
                  <c:v>15.7015428</c:v>
                </c:pt>
                <c:pt idx="6">
                  <c:v>20.844331799999999</c:v>
                </c:pt>
                <c:pt idx="7">
                  <c:v>22.8928543</c:v>
                </c:pt>
                <c:pt idx="8">
                  <c:v>25.319824100000002</c:v>
                </c:pt>
                <c:pt idx="9">
                  <c:v>27.499869700000001</c:v>
                </c:pt>
                <c:pt idx="10">
                  <c:v>34.584768500000003</c:v>
                </c:pt>
                <c:pt idx="11">
                  <c:v>42.424765399999998</c:v>
                </c:pt>
                <c:pt idx="12">
                  <c:v>46.781958199999998</c:v>
                </c:pt>
                <c:pt idx="13">
                  <c:v>50.740289199999999</c:v>
                </c:pt>
                <c:pt idx="14">
                  <c:v>89.46459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13B-470D-A795-D51EE48759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3.5432530918869456E-3"/>
          <c:y val="7.839625914535274E-2"/>
          <c:w val="0.98994552187469609"/>
          <c:h val="4.6791895752454092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denni incr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7"/>
            <c:marker>
              <c:symbol val="circle"/>
              <c:size val="6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CFE6-4070-BDCE-CFD3E478B170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CFE6-4070-BDCE-CFD3E478B170}"/>
              </c:ext>
            </c:extLst>
          </c:dPt>
          <c:dPt>
            <c:idx val="14"/>
            <c:marker>
              <c:symbol val="circle"/>
              <c:size val="8"/>
              <c:spPr>
                <a:solidFill>
                  <a:srgbClr val="00B0F0"/>
                </a:solidFill>
                <a:ln w="9525">
                  <a:solidFill>
                    <a:srgbClr val="00B0F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CFE6-4070-BDCE-CFD3E478B170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F64196B2-1A0B-4AFD-837F-5D3AE1C6AE8E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CFE6-4070-BDCE-CFD3E478B17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36BED2A-B301-488A-B987-13BE96D3B13A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CFE6-4070-BDCE-CFD3E478B170}"/>
                </c:ext>
              </c:extLst>
            </c:dLbl>
            <c:dLbl>
              <c:idx val="2"/>
              <c:layout>
                <c:manualLayout>
                  <c:x val="-1.5150944479883756E-2"/>
                  <c:y val="-2.8522247455098897E-2"/>
                </c:manualLayout>
              </c:layout>
              <c:tx>
                <c:rich>
                  <a:bodyPr/>
                  <a:lstStyle/>
                  <a:p>
                    <a:fld id="{38D3BC65-A085-41C3-AB0E-EB093E02A42B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FE6-4070-BDCE-CFD3E478B170}"/>
                </c:ext>
              </c:extLst>
            </c:dLbl>
            <c:dLbl>
              <c:idx val="3"/>
              <c:layout>
                <c:manualLayout>
                  <c:x val="-7.7919143039402131E-2"/>
                  <c:y val="-2.3336384281444647E-2"/>
                </c:manualLayout>
              </c:layout>
              <c:tx>
                <c:rich>
                  <a:bodyPr/>
                  <a:lstStyle/>
                  <a:p>
                    <a:fld id="{31297EEF-E6A7-4BC6-9A5B-F510F6C75BC4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CFE6-4070-BDCE-CFD3E478B17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10C0425E-61D8-4365-B7F3-D62B15B4DA47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CFE6-4070-BDCE-CFD3E478B170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67B47FA1-ABF2-46B9-B8F2-8E84ABEC0320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CFE6-4070-BDCE-CFD3E478B170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1E8A6A9F-8D88-416C-8528-F67F84FB3574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CFE6-4070-BDCE-CFD3E478B170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2931F039-EB07-41A5-BC56-C9935D82C1A5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CFE6-4070-BDCE-CFD3E478B170}"/>
                </c:ext>
              </c:extLst>
            </c:dLbl>
            <c:dLbl>
              <c:idx val="8"/>
              <c:layout>
                <c:manualLayout>
                  <c:x val="-4.3288412799667875E-3"/>
                  <c:y val="-7.7787947604815175E-3"/>
                </c:manualLayout>
              </c:layout>
              <c:tx>
                <c:rich>
                  <a:bodyPr/>
                  <a:lstStyle/>
                  <a:p>
                    <a:fld id="{FEE9CC1B-3ED6-48B7-97DE-22FC59C20953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CFE6-4070-BDCE-CFD3E478B170}"/>
                </c:ext>
              </c:extLst>
            </c:dLbl>
            <c:dLbl>
              <c:idx val="9"/>
              <c:layout>
                <c:manualLayout>
                  <c:x val="-1.5150944479883756E-2"/>
                  <c:y val="2.5929315868271727E-2"/>
                </c:manualLayout>
              </c:layout>
              <c:tx>
                <c:rich>
                  <a:bodyPr/>
                  <a:lstStyle/>
                  <a:p>
                    <a:fld id="{40CC0A37-F4D5-4DB4-B5ED-7476D29CA97A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CE33-4B86-A778-9676864A6EFD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EFE8D46D-BD50-4969-BBD4-72FE3515389F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CE33-4B86-A778-9676864A6EFD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A34C4445-CD5B-4369-98B3-DB67DDEB9821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CE33-4B86-A778-9676864A6EFD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EC6CD786-7AED-468B-8643-BBC487C13B29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CE33-4B86-A778-9676864A6EFD}"/>
                </c:ext>
              </c:extLst>
            </c:dLbl>
            <c:dLbl>
              <c:idx val="13"/>
              <c:layout>
                <c:manualLayout>
                  <c:x val="-1.5150944479883756E-2"/>
                  <c:y val="-3.3708110628753243E-2"/>
                </c:manualLayout>
              </c:layout>
              <c:tx>
                <c:rich>
                  <a:bodyPr/>
                  <a:lstStyle/>
                  <a:p>
                    <a:fld id="{555CBDEE-3735-49B5-8067-86796845465C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E33-4B86-A778-9676864A6EFD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66645B76-08E7-4FAC-9A84-472081A22E8C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CFE6-4070-BDCE-CFD3E478B1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16</c:f>
              <c:numCache>
                <c:formatCode>0.0%</c:formatCode>
                <c:ptCount val="15"/>
                <c:pt idx="0">
                  <c:v>-3.3018867924535122E-2</c:v>
                </c:pt>
                <c:pt idx="1">
                  <c:v>-0.21764705882358348</c:v>
                </c:pt>
                <c:pt idx="2">
                  <c:v>-0.5</c:v>
                </c:pt>
                <c:pt idx="3">
                  <c:v>-0.5</c:v>
                </c:pt>
                <c:pt idx="4">
                  <c:v>-0.5882352941176775</c:v>
                </c:pt>
                <c:pt idx="5">
                  <c:v>-0.46153846153844535</c:v>
                </c:pt>
                <c:pt idx="6">
                  <c:v>-0.43137254901962563</c:v>
                </c:pt>
                <c:pt idx="7">
                  <c:v>-6.2499999999892419E-2</c:v>
                </c:pt>
                <c:pt idx="8">
                  <c:v>-0.41860465116279344</c:v>
                </c:pt>
                <c:pt idx="9">
                  <c:v>-0.44000000000005157</c:v>
                </c:pt>
                <c:pt idx="10">
                  <c:v>-0.49624060150374727</c:v>
                </c:pt>
                <c:pt idx="11">
                  <c:v>-0.5189873417721913</c:v>
                </c:pt>
                <c:pt idx="12">
                  <c:v>-0.42528735632189119</c:v>
                </c:pt>
                <c:pt idx="13">
                  <c:v>-0.41666666666666663</c:v>
                </c:pt>
                <c:pt idx="14">
                  <c:v>-0.36834924965897919</c:v>
                </c:pt>
              </c:numCache>
            </c:numRef>
          </c:xVal>
          <c:yVal>
            <c:numRef>
              <c:f>Sheet1!$B$2:$B$16</c:f>
              <c:numCache>
                <c:formatCode>[$-10405]#\ ##0.0;\(#\ ##0.0\)</c:formatCode>
                <c:ptCount val="15"/>
                <c:pt idx="0">
                  <c:v>15.354839096266</c:v>
                </c:pt>
                <c:pt idx="1">
                  <c:v>9.5136112595370008</c:v>
                </c:pt>
                <c:pt idx="2">
                  <c:v>13.207966423795</c:v>
                </c:pt>
                <c:pt idx="3">
                  <c:v>8.6288430075069993</c:v>
                </c:pt>
                <c:pt idx="4">
                  <c:v>2.3865453392470002</c:v>
                </c:pt>
                <c:pt idx="5">
                  <c:v>5.1407337050980004</c:v>
                </c:pt>
                <c:pt idx="6">
                  <c:v>13.108055578155</c:v>
                </c:pt>
                <c:pt idx="7">
                  <c:v>2.72329671407</c:v>
                </c:pt>
                <c:pt idx="8">
                  <c:v>4.7814312162429999</c:v>
                </c:pt>
                <c:pt idx="9">
                  <c:v>8.2538734248850005</c:v>
                </c:pt>
                <c:pt idx="10">
                  <c:v>5.6051607635399998</c:v>
                </c:pt>
                <c:pt idx="11">
                  <c:v>6.0267524368689998</c:v>
                </c:pt>
                <c:pt idx="12">
                  <c:v>8.618921290286</c:v>
                </c:pt>
                <c:pt idx="13">
                  <c:v>8.802565989903</c:v>
                </c:pt>
                <c:pt idx="14">
                  <c:v>8.6527686009519993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16</c15:f>
                <c15:dlblRangeCache>
                  <c:ptCount val="15"/>
                  <c:pt idx="0">
                    <c:v>HMP</c:v>
                  </c:pt>
                  <c:pt idx="1">
                    <c:v>STC</c:v>
                  </c:pt>
                  <c:pt idx="2">
                    <c:v>JHC</c:v>
                  </c:pt>
                  <c:pt idx="3">
                    <c:v>PLK</c:v>
                  </c:pt>
                  <c:pt idx="4">
                    <c:v>KVK</c:v>
                  </c:pt>
                  <c:pt idx="5">
                    <c:v>ULK</c:v>
                  </c:pt>
                  <c:pt idx="6">
                    <c:v>LBK</c:v>
                  </c:pt>
                  <c:pt idx="7">
                    <c:v>HKK</c:v>
                  </c:pt>
                  <c:pt idx="8">
                    <c:v>PAR</c:v>
                  </c:pt>
                  <c:pt idx="9">
                    <c:v>VYS</c:v>
                  </c:pt>
                  <c:pt idx="10">
                    <c:v>JMK</c:v>
                  </c:pt>
                  <c:pt idx="11">
                    <c:v>OLO</c:v>
                  </c:pt>
                  <c:pt idx="12">
                    <c:v>ZLK</c:v>
                  </c:pt>
                  <c:pt idx="13">
                    <c:v>MSK</c:v>
                  </c:pt>
                  <c:pt idx="14">
                    <c:v>ČR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CFE6-4070-BDCE-CFD3E478B1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70038783"/>
        <c:axId val="270818111"/>
      </c:scatterChart>
      <c:valAx>
        <c:axId val="770038783"/>
        <c:scaling>
          <c:orientation val="minMax"/>
        </c:scaling>
        <c:delete val="0"/>
        <c:axPos val="b"/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70818111"/>
        <c:crossesAt val="8.6999999999999993"/>
        <c:crossBetween val="midCat"/>
      </c:valAx>
      <c:valAx>
        <c:axId val="270818111"/>
        <c:scaling>
          <c:orientation val="minMax"/>
          <c:max val="50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70038783"/>
        <c:crossesAt val="0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denni incr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7"/>
            <c:marker>
              <c:symbol val="circle"/>
              <c:size val="6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9876-4143-8BC6-B04B666140EE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9876-4143-8BC6-B04B666140EE}"/>
              </c:ext>
            </c:extLst>
          </c:dPt>
          <c:dPt>
            <c:idx val="14"/>
            <c:marker>
              <c:symbol val="circle"/>
              <c:size val="8"/>
              <c:spPr>
                <a:solidFill>
                  <a:srgbClr val="00B0F0"/>
                </a:solidFill>
                <a:ln w="9525">
                  <a:solidFill>
                    <a:srgbClr val="00B0F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9876-4143-8BC6-B04B666140EE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30EB21E9-4AA3-4693-8B00-81F86DCA9E68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9876-4143-8BC6-B04B666140E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01019AB-8084-4493-AA95-AF7B8F916718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9876-4143-8BC6-B04B666140EE}"/>
                </c:ext>
              </c:extLst>
            </c:dLbl>
            <c:dLbl>
              <c:idx val="2"/>
              <c:layout>
                <c:manualLayout>
                  <c:x val="-1.5150944479883756E-2"/>
                  <c:y val="-2.8522247455098897E-2"/>
                </c:manualLayout>
              </c:layout>
              <c:tx>
                <c:rich>
                  <a:bodyPr/>
                  <a:lstStyle/>
                  <a:p>
                    <a:fld id="{CD85BD20-3E7C-438D-B379-D16CDCE7BC98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9876-4143-8BC6-B04B666140EE}"/>
                </c:ext>
              </c:extLst>
            </c:dLbl>
            <c:dLbl>
              <c:idx val="3"/>
              <c:layout>
                <c:manualLayout>
                  <c:x val="-9.7398928799252715E-2"/>
                  <c:y val="-5.1858631736543544E-2"/>
                </c:manualLayout>
              </c:layout>
              <c:tx>
                <c:rich>
                  <a:bodyPr/>
                  <a:lstStyle/>
                  <a:p>
                    <a:fld id="{5F1BE008-C241-4A9D-A171-B5BF2A33A86A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9876-4143-8BC6-B04B666140E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C3B344AA-7674-4136-970C-2E22D28BC7D3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9876-4143-8BC6-B04B666140EE}"/>
                </c:ext>
              </c:extLst>
            </c:dLbl>
            <c:dLbl>
              <c:idx val="5"/>
              <c:layout>
                <c:manualLayout>
                  <c:x val="-0.15367386543882097"/>
                  <c:y val="5.185863173654345E-3"/>
                </c:manualLayout>
              </c:layout>
              <c:tx>
                <c:rich>
                  <a:bodyPr/>
                  <a:lstStyle/>
                  <a:p>
                    <a:fld id="{6F3E1A46-A3EF-4930-93B7-C1F240CE3FA7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9876-4143-8BC6-B04B666140EE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F0D5ADE4-344F-48C9-9FB8-EBE27B056BCF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9876-4143-8BC6-B04B666140EE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0A53DFA0-8D98-4F4C-8D2F-5D74264F13AE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9876-4143-8BC6-B04B666140EE}"/>
                </c:ext>
              </c:extLst>
            </c:dLbl>
            <c:dLbl>
              <c:idx val="8"/>
              <c:layout>
                <c:manualLayout>
                  <c:x val="-5.8439357279551629E-2"/>
                  <c:y val="-2.8522247455098897E-2"/>
                </c:manualLayout>
              </c:layout>
              <c:tx>
                <c:rich>
                  <a:bodyPr/>
                  <a:lstStyle/>
                  <a:p>
                    <a:fld id="{EF509FC7-7056-47A9-BCBB-7CC3ADA49FA0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9876-4143-8BC6-B04B666140EE}"/>
                </c:ext>
              </c:extLst>
            </c:dLbl>
            <c:dLbl>
              <c:idx val="9"/>
              <c:layout>
                <c:manualLayout>
                  <c:x val="-1.5150944479883756E-2"/>
                  <c:y val="2.5929315868271727E-2"/>
                </c:manualLayout>
              </c:layout>
              <c:tx>
                <c:rich>
                  <a:bodyPr/>
                  <a:lstStyle/>
                  <a:p>
                    <a:fld id="{060A7C53-CDC4-4A28-AC3E-B41F6727A541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9876-4143-8BC6-B04B666140EE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E3DED3F9-C2D6-4AC6-89DE-046E194A88F7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9876-4143-8BC6-B04B666140EE}"/>
                </c:ext>
              </c:extLst>
            </c:dLbl>
            <c:dLbl>
              <c:idx val="11"/>
              <c:layout>
                <c:manualLayout>
                  <c:x val="-3.6795150879717693E-2"/>
                  <c:y val="3.1115179041925976E-2"/>
                </c:manualLayout>
              </c:layout>
              <c:tx>
                <c:rich>
                  <a:bodyPr/>
                  <a:lstStyle/>
                  <a:p>
                    <a:fld id="{B4793FB5-8611-4BCE-8F98-F2E6C7E7B6AE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9876-4143-8BC6-B04B666140EE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3EA7FEBD-01E3-408F-9F53-F0CE2A232A3F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9876-4143-8BC6-B04B666140EE}"/>
                </c:ext>
              </c:extLst>
            </c:dLbl>
            <c:dLbl>
              <c:idx val="13"/>
              <c:layout>
                <c:manualLayout>
                  <c:x val="-1.5150944479883756E-2"/>
                  <c:y val="-3.3708110628753243E-2"/>
                </c:manualLayout>
              </c:layout>
              <c:tx>
                <c:rich>
                  <a:bodyPr/>
                  <a:lstStyle/>
                  <a:p>
                    <a:fld id="{6823348B-73AA-47E6-A2C9-AB6F3293C1D6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9876-4143-8BC6-B04B666140EE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EE4D5B2B-10F7-4FEF-BBED-1EB54B4F83DE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9876-4143-8BC6-B04B666140E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16</c:f>
              <c:numCache>
                <c:formatCode>0.0%</c:formatCode>
                <c:ptCount val="15"/>
                <c:pt idx="0">
                  <c:v>-3.3018867924535122E-2</c:v>
                </c:pt>
                <c:pt idx="1">
                  <c:v>0.45454545454550899</c:v>
                </c:pt>
                <c:pt idx="2">
                  <c:v>0.11111111111113603</c:v>
                </c:pt>
                <c:pt idx="3">
                  <c:v>0.19999999999999996</c:v>
                </c:pt>
                <c:pt idx="4">
                  <c:v>-0.61702127659574635</c:v>
                </c:pt>
                <c:pt idx="5">
                  <c:v>-0.22857142857143953</c:v>
                </c:pt>
                <c:pt idx="6">
                  <c:v>-0.45454545454545925</c:v>
                </c:pt>
                <c:pt idx="7">
                  <c:v>-0.34615384615386424</c:v>
                </c:pt>
                <c:pt idx="8">
                  <c:v>-0.22222222222223964</c:v>
                </c:pt>
                <c:pt idx="9">
                  <c:v>0.26666666666673478</c:v>
                </c:pt>
                <c:pt idx="10">
                  <c:v>-0.58333333333335002</c:v>
                </c:pt>
                <c:pt idx="11">
                  <c:v>-0.23529411764706554</c:v>
                </c:pt>
                <c:pt idx="12">
                  <c:v>-4.3478260869598495E-2</c:v>
                </c:pt>
                <c:pt idx="14">
                  <c:v>-0.36834924965897919</c:v>
                </c:pt>
              </c:numCache>
            </c:numRef>
          </c:xVal>
          <c:yVal>
            <c:numRef>
              <c:f>Sheet1!$B$2:$B$16</c:f>
              <c:numCache>
                <c:formatCode>[$-10405]#\ ##0.0;\(#\ ##0.0\)</c:formatCode>
                <c:ptCount val="15"/>
                <c:pt idx="0">
                  <c:v>15.354839096266</c:v>
                </c:pt>
                <c:pt idx="1">
                  <c:v>14.547173756897999</c:v>
                </c:pt>
                <c:pt idx="2">
                  <c:v>19.696865243895999</c:v>
                </c:pt>
                <c:pt idx="3">
                  <c:v>20.826824950536</c:v>
                </c:pt>
                <c:pt idx="4">
                  <c:v>18.311105685598001</c:v>
                </c:pt>
                <c:pt idx="5">
                  <c:v>44.031311154598001</c:v>
                </c:pt>
                <c:pt idx="6">
                  <c:v>20.868839344718001</c:v>
                </c:pt>
                <c:pt idx="7">
                  <c:v>19.377083748895</c:v>
                </c:pt>
                <c:pt idx="8">
                  <c:v>14.797277300976001</c:v>
                </c:pt>
                <c:pt idx="9">
                  <c:v>16.109749790148999</c:v>
                </c:pt>
                <c:pt idx="10">
                  <c:v>12.503438445572</c:v>
                </c:pt>
                <c:pt idx="11">
                  <c:v>13.55812001022</c:v>
                </c:pt>
                <c:pt idx="12">
                  <c:v>12.515858161192</c:v>
                </c:pt>
                <c:pt idx="14">
                  <c:v>8.6527686009519993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16</c15:f>
                <c15:dlblRangeCache>
                  <c:ptCount val="15"/>
                  <c:pt idx="0">
                    <c:v>HMP - Praha</c:v>
                  </c:pt>
                  <c:pt idx="1">
                    <c:v>STC - Mělník</c:v>
                  </c:pt>
                  <c:pt idx="2">
                    <c:v>STC - Nymburk</c:v>
                  </c:pt>
                  <c:pt idx="3">
                    <c:v>STC - Příbram</c:v>
                  </c:pt>
                  <c:pt idx="4">
                    <c:v>JHC - České Budějovice</c:v>
                  </c:pt>
                  <c:pt idx="5">
                    <c:v>JHC - Český Krumlov</c:v>
                  </c:pt>
                  <c:pt idx="6">
                    <c:v>PLK - Klatovy</c:v>
                  </c:pt>
                  <c:pt idx="7">
                    <c:v>LBK - Liberec</c:v>
                  </c:pt>
                  <c:pt idx="8">
                    <c:v>VYS - Havlíčkův Brod</c:v>
                  </c:pt>
                  <c:pt idx="9">
                    <c:v>VYS - Žďár nad Sázavou</c:v>
                  </c:pt>
                  <c:pt idx="10">
                    <c:v>OLO - Šumperk</c:v>
                  </c:pt>
                  <c:pt idx="11">
                    <c:v>ZLK - Zlín</c:v>
                  </c:pt>
                  <c:pt idx="12">
                    <c:v>MSK - Opava</c:v>
                  </c:pt>
                  <c:pt idx="14">
                    <c:v>ČR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F-9876-4143-8BC6-B04B666140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70038783"/>
        <c:axId val="270818111"/>
      </c:scatterChart>
      <c:valAx>
        <c:axId val="770038783"/>
        <c:scaling>
          <c:orientation val="minMax"/>
        </c:scaling>
        <c:delete val="0"/>
        <c:axPos val="b"/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70818111"/>
        <c:crossesAt val="8.6999999999999993"/>
        <c:crossBetween val="midCat"/>
      </c:valAx>
      <c:valAx>
        <c:axId val="270818111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70038783"/>
        <c:crossesAt val="0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7"/>
            <c:marker>
              <c:symbol val="circle"/>
              <c:size val="6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A86F-41BC-809C-D5D2272C8979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A86F-41BC-809C-D5D2272C8979}"/>
              </c:ext>
            </c:extLst>
          </c:dPt>
          <c:dPt>
            <c:idx val="14"/>
            <c:marker>
              <c:symbol val="circle"/>
              <c:size val="8"/>
              <c:spPr>
                <a:solidFill>
                  <a:srgbClr val="00B0F0"/>
                </a:solidFill>
                <a:ln w="9525">
                  <a:solidFill>
                    <a:srgbClr val="00B0F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A86F-41BC-809C-D5D2272C8979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6315CF26-2F09-4264-B922-3483BF46D28F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A86F-41BC-809C-D5D2272C897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816C766-FDC0-41F3-92FE-495A14EF921D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A86F-41BC-809C-D5D2272C897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3CBA26D-1641-43C6-A529-82229A3098BF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A86F-41BC-809C-D5D2272C8979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7138638-AFC9-4D5F-B01A-459CAF65A770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A86F-41BC-809C-D5D2272C8979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1F17263F-59B9-4EF4-8A0E-6EF801C5E277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A86F-41BC-809C-D5D2272C8979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B945277E-9D31-40DD-9768-76C94A97B2C7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A86F-41BC-809C-D5D2272C8979}"/>
                </c:ext>
              </c:extLst>
            </c:dLbl>
            <c:dLbl>
              <c:idx val="6"/>
              <c:layout>
                <c:manualLayout>
                  <c:x val="-1.731536511986715E-2"/>
                  <c:y val="4.9265700149716277E-2"/>
                </c:manualLayout>
              </c:layout>
              <c:tx>
                <c:rich>
                  <a:bodyPr/>
                  <a:lstStyle/>
                  <a:p>
                    <a:fld id="{2D7DA227-3171-4F23-AC53-B44C0DE5B80B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A86F-41BC-809C-D5D2272C8979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EE171D90-B006-44CF-8C69-E4DEFC22C121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A86F-41BC-809C-D5D2272C8979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688A5257-921F-4967-83B3-3C125BB365C1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A86F-41BC-809C-D5D2272C8979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0139303E-E31F-4734-B045-25DEAB669AF8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A86F-41BC-809C-D5D2272C8979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55E10663-FF96-4D58-A35B-A786B1948AEC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A86F-41BC-809C-D5D2272C8979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8F2532E5-A784-48FE-809E-0D1E1A8A7BFB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A86F-41BC-809C-D5D2272C8979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1803CE0D-4527-40AE-82F0-6074301B0A4E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A86F-41BC-809C-D5D2272C8979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07C4AB93-F9DA-412F-AE2C-858D5215A265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A86F-41BC-809C-D5D2272C8979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EA5CD2A0-9B3D-41E7-B01D-523BA9B44E7B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A86F-41BC-809C-D5D2272C8979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86F-41BC-809C-D5D2272C8979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86F-41BC-809C-D5D2272C8979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86F-41BC-809C-D5D2272C89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19</c:f>
              <c:numCache>
                <c:formatCode>[$-10405]#\ ##0.0;\(#\ ##0.0\)</c:formatCode>
                <c:ptCount val="18"/>
                <c:pt idx="0">
                  <c:v>616.21590851212295</c:v>
                </c:pt>
                <c:pt idx="1">
                  <c:v>282.11791584674302</c:v>
                </c:pt>
                <c:pt idx="2">
                  <c:v>187.86389889845501</c:v>
                </c:pt>
                <c:pt idx="3">
                  <c:v>345.32291330043</c:v>
                </c:pt>
                <c:pt idx="4">
                  <c:v>132.623733852463</c:v>
                </c:pt>
                <c:pt idx="5">
                  <c:v>209.05650400732401</c:v>
                </c:pt>
                <c:pt idx="6">
                  <c:v>190.97080971623299</c:v>
                </c:pt>
                <c:pt idx="7">
                  <c:v>144.87938518853301</c:v>
                </c:pt>
                <c:pt idx="8">
                  <c:v>281.53067001239299</c:v>
                </c:pt>
                <c:pt idx="9">
                  <c:v>381.44686470722303</c:v>
                </c:pt>
                <c:pt idx="10">
                  <c:v>471.33545883260302</c:v>
                </c:pt>
                <c:pt idx="11">
                  <c:v>190.47709675475201</c:v>
                </c:pt>
                <c:pt idx="12">
                  <c:v>248.56969001187599</c:v>
                </c:pt>
                <c:pt idx="13">
                  <c:v>232.30390817163101</c:v>
                </c:pt>
                <c:pt idx="14">
                  <c:v>320.25522490330297</c:v>
                </c:pt>
              </c:numCache>
            </c:numRef>
          </c:xVal>
          <c:yVal>
            <c:numRef>
              <c:f>Sheet1!$B$2:$B$19</c:f>
              <c:numCache>
                <c:formatCode>[$-10405]#\ ##0.0;\(#\ ##0.0\)</c:formatCode>
                <c:ptCount val="18"/>
                <c:pt idx="0">
                  <c:v>4.2693942849874569</c:v>
                </c:pt>
                <c:pt idx="1">
                  <c:v>2.8612364688605139</c:v>
                </c:pt>
                <c:pt idx="2">
                  <c:v>4.972410888880586</c:v>
                </c:pt>
                <c:pt idx="3">
                  <c:v>2.7070880021830899</c:v>
                </c:pt>
                <c:pt idx="4">
                  <c:v>0.34093504841038841</c:v>
                </c:pt>
                <c:pt idx="5">
                  <c:v>2.325570009269474</c:v>
                </c:pt>
                <c:pt idx="6">
                  <c:v>4.5200191648326635</c:v>
                </c:pt>
                <c:pt idx="7">
                  <c:v>1.2708717998180765</c:v>
                </c:pt>
                <c:pt idx="8">
                  <c:v>2.6776014810349267</c:v>
                </c:pt>
                <c:pt idx="9">
                  <c:v>4.5199783039510466</c:v>
                </c:pt>
                <c:pt idx="10">
                  <c:v>2.0914778964022354</c:v>
                </c:pt>
                <c:pt idx="11">
                  <c:v>4.599363701781372</c:v>
                </c:pt>
                <c:pt idx="12">
                  <c:v>4.137082219304645</c:v>
                </c:pt>
                <c:pt idx="13">
                  <c:v>3.6886943194178645</c:v>
                </c:pt>
                <c:pt idx="14">
                  <c:v>3.2891733773855734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16</c15:f>
                <c15:dlblRangeCache>
                  <c:ptCount val="15"/>
                  <c:pt idx="0">
                    <c:v>HMP</c:v>
                  </c:pt>
                  <c:pt idx="1">
                    <c:v>STC</c:v>
                  </c:pt>
                  <c:pt idx="2">
                    <c:v>JHC</c:v>
                  </c:pt>
                  <c:pt idx="3">
                    <c:v>PLK</c:v>
                  </c:pt>
                  <c:pt idx="4">
                    <c:v>KVK</c:v>
                  </c:pt>
                  <c:pt idx="5">
                    <c:v>ULK</c:v>
                  </c:pt>
                  <c:pt idx="6">
                    <c:v>LBK</c:v>
                  </c:pt>
                  <c:pt idx="7">
                    <c:v>HKK</c:v>
                  </c:pt>
                  <c:pt idx="8">
                    <c:v>PAR</c:v>
                  </c:pt>
                  <c:pt idx="9">
                    <c:v>VYS</c:v>
                  </c:pt>
                  <c:pt idx="10">
                    <c:v>JMK</c:v>
                  </c:pt>
                  <c:pt idx="11">
                    <c:v>OLO</c:v>
                  </c:pt>
                  <c:pt idx="12">
                    <c:v>ZLK</c:v>
                  </c:pt>
                  <c:pt idx="13">
                    <c:v>MSK</c:v>
                  </c:pt>
                  <c:pt idx="14">
                    <c:v>ČR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2-A86F-41BC-809C-D5D2272C89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70038783"/>
        <c:axId val="270818111"/>
      </c:scatterChart>
      <c:valAx>
        <c:axId val="770038783"/>
        <c:scaling>
          <c:orientation val="minMax"/>
        </c:scaling>
        <c:delete val="0"/>
        <c:axPos val="b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70818111"/>
        <c:crosses val="autoZero"/>
        <c:crossBetween val="midCat"/>
      </c:valAx>
      <c:valAx>
        <c:axId val="270818111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7003878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3.04.202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Jihomoravský kraj</c:v>
                </c:pt>
                <c:pt idx="2">
                  <c:v>Kraj Vysočina</c:v>
                </c:pt>
                <c:pt idx="3">
                  <c:v>Plzeňský kraj</c:v>
                </c:pt>
                <c:pt idx="4">
                  <c:v>ČR</c:v>
                </c:pt>
                <c:pt idx="5">
                  <c:v>Středočeský kraj</c:v>
                </c:pt>
                <c:pt idx="6">
                  <c:v>Pardubický kraj</c:v>
                </c:pt>
                <c:pt idx="7">
                  <c:v>Zlínský kraj</c:v>
                </c:pt>
                <c:pt idx="8">
                  <c:v>Moravskoslezský kraj</c:v>
                </c:pt>
                <c:pt idx="9">
                  <c:v>Ústec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Jihoče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699.80615451911603</c:v>
                </c:pt>
                <c:pt idx="1">
                  <c:v>685.50279546935599</c:v>
                </c:pt>
                <c:pt idx="2">
                  <c:v>804.35961733470594</c:v>
                </c:pt>
                <c:pt idx="3">
                  <c:v>674.23410558658304</c:v>
                </c:pt>
                <c:pt idx="4">
                  <c:v>595.56464314290895</c:v>
                </c:pt>
                <c:pt idx="5">
                  <c:v>489.843683498605</c:v>
                </c:pt>
                <c:pt idx="6">
                  <c:v>638.41669599277805</c:v>
                </c:pt>
                <c:pt idx="7">
                  <c:v>635.38687751995701</c:v>
                </c:pt>
                <c:pt idx="8">
                  <c:v>563.36422335379405</c:v>
                </c:pt>
                <c:pt idx="9">
                  <c:v>461.56444766488198</c:v>
                </c:pt>
                <c:pt idx="10">
                  <c:v>449.51590594744101</c:v>
                </c:pt>
                <c:pt idx="11">
                  <c:v>744.77972219843195</c:v>
                </c:pt>
                <c:pt idx="12">
                  <c:v>575.86733607748204</c:v>
                </c:pt>
                <c:pt idx="13">
                  <c:v>300.288851004805</c:v>
                </c:pt>
                <c:pt idx="14">
                  <c:v>313.319309538338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BC-4D6C-A19E-06D4AE948D1F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0.05.2021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Jihomoravský kraj</c:v>
                </c:pt>
                <c:pt idx="2">
                  <c:v>Kraj Vysočina</c:v>
                </c:pt>
                <c:pt idx="3">
                  <c:v>Plzeňský kraj</c:v>
                </c:pt>
                <c:pt idx="4">
                  <c:v>ČR</c:v>
                </c:pt>
                <c:pt idx="5">
                  <c:v>Středočeský kraj</c:v>
                </c:pt>
                <c:pt idx="6">
                  <c:v>Pardubický kraj</c:v>
                </c:pt>
                <c:pt idx="7">
                  <c:v>Zlínský kraj</c:v>
                </c:pt>
                <c:pt idx="8">
                  <c:v>Moravskoslezský kraj</c:v>
                </c:pt>
                <c:pt idx="9">
                  <c:v>Ústec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Jihoče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731.78916083182696</c:v>
                </c:pt>
                <c:pt idx="1">
                  <c:v>511.82647091549001</c:v>
                </c:pt>
                <c:pt idx="2">
                  <c:v>623.56048517054001</c:v>
                </c:pt>
                <c:pt idx="3">
                  <c:v>512.99317644630401</c:v>
                </c:pt>
                <c:pt idx="4">
                  <c:v>479.53718340421398</c:v>
                </c:pt>
                <c:pt idx="5">
                  <c:v>463.44877707176698</c:v>
                </c:pt>
                <c:pt idx="6">
                  <c:v>487.70598405679499</c:v>
                </c:pt>
                <c:pt idx="7">
                  <c:v>451.63147561103801</c:v>
                </c:pt>
                <c:pt idx="8">
                  <c:v>400.55866952149199</c:v>
                </c:pt>
                <c:pt idx="9">
                  <c:v>299.01934384654101</c:v>
                </c:pt>
                <c:pt idx="10">
                  <c:v>282.04919588859002</c:v>
                </c:pt>
                <c:pt idx="11">
                  <c:v>501.01344600188401</c:v>
                </c:pt>
                <c:pt idx="12">
                  <c:v>397.326707595823</c:v>
                </c:pt>
                <c:pt idx="13">
                  <c:v>275.416074349631</c:v>
                </c:pt>
                <c:pt idx="14">
                  <c:v>284.68076546737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BC-4D6C-A19E-06D4AE948D1F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31.05.2021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Jihomoravský kraj</c:v>
                </c:pt>
                <c:pt idx="2">
                  <c:v>Kraj Vysočina</c:v>
                </c:pt>
                <c:pt idx="3">
                  <c:v>Plzeňský kraj</c:v>
                </c:pt>
                <c:pt idx="4">
                  <c:v>ČR</c:v>
                </c:pt>
                <c:pt idx="5">
                  <c:v>Středočeský kraj</c:v>
                </c:pt>
                <c:pt idx="6">
                  <c:v>Pardubický kraj</c:v>
                </c:pt>
                <c:pt idx="7">
                  <c:v>Zlínský kraj</c:v>
                </c:pt>
                <c:pt idx="8">
                  <c:v>Moravskoslezský kraj</c:v>
                </c:pt>
                <c:pt idx="9">
                  <c:v>Ústec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Jihoče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115.7350398926201</c:v>
                </c:pt>
                <c:pt idx="1">
                  <c:v>379.56140871911998</c:v>
                </c:pt>
                <c:pt idx="2">
                  <c:v>583.47024282109498</c:v>
                </c:pt>
                <c:pt idx="3">
                  <c:v>432.45730837623699</c:v>
                </c:pt>
                <c:pt idx="4">
                  <c:v>494.14223450927801</c:v>
                </c:pt>
                <c:pt idx="5">
                  <c:v>527.75506671330402</c:v>
                </c:pt>
                <c:pt idx="6">
                  <c:v>429.75503771592901</c:v>
                </c:pt>
                <c:pt idx="7">
                  <c:v>354.58242188240598</c:v>
                </c:pt>
                <c:pt idx="8">
                  <c:v>348.749281123777</c:v>
                </c:pt>
                <c:pt idx="9">
                  <c:v>235.98415674831401</c:v>
                </c:pt>
                <c:pt idx="10">
                  <c:v>245.21103969480799</c:v>
                </c:pt>
                <c:pt idx="11">
                  <c:v>455.49560522868302</c:v>
                </c:pt>
                <c:pt idx="12">
                  <c:v>401.83295496394197</c:v>
                </c:pt>
                <c:pt idx="13">
                  <c:v>307.00631623284499</c:v>
                </c:pt>
                <c:pt idx="14">
                  <c:v>189.2189518974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CBC-4D6C-A19E-06D4AE948D1F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15.06.202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Jihomoravský kraj</c:v>
                </c:pt>
                <c:pt idx="2">
                  <c:v>Kraj Vysočina</c:v>
                </c:pt>
                <c:pt idx="3">
                  <c:v>Plzeňský kraj</c:v>
                </c:pt>
                <c:pt idx="4">
                  <c:v>ČR</c:v>
                </c:pt>
                <c:pt idx="5">
                  <c:v>Středočeský kraj</c:v>
                </c:pt>
                <c:pt idx="6">
                  <c:v>Pardubický kraj</c:v>
                </c:pt>
                <c:pt idx="7">
                  <c:v>Zlínský kraj</c:v>
                </c:pt>
                <c:pt idx="8">
                  <c:v>Moravskoslezský kraj</c:v>
                </c:pt>
                <c:pt idx="9">
                  <c:v>Ústec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Jihoče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617.03982670753305</c:v>
                </c:pt>
                <c:pt idx="1">
                  <c:v>471.16814060085602</c:v>
                </c:pt>
                <c:pt idx="2">
                  <c:v>381.64338550305303</c:v>
                </c:pt>
                <c:pt idx="3">
                  <c:v>345.153720300283</c:v>
                </c:pt>
                <c:pt idx="4">
                  <c:v>320.43276550000002</c:v>
                </c:pt>
                <c:pt idx="5">
                  <c:v>282.33250858192099</c:v>
                </c:pt>
                <c:pt idx="6">
                  <c:v>281.72192726104299</c:v>
                </c:pt>
                <c:pt idx="7">
                  <c:v>248.56969001187599</c:v>
                </c:pt>
                <c:pt idx="8">
                  <c:v>232.471576095248</c:v>
                </c:pt>
                <c:pt idx="9">
                  <c:v>208.93410558577401</c:v>
                </c:pt>
                <c:pt idx="10">
                  <c:v>190.97080971623299</c:v>
                </c:pt>
                <c:pt idx="11">
                  <c:v>190.159899258075</c:v>
                </c:pt>
                <c:pt idx="12">
                  <c:v>188.01928673873499</c:v>
                </c:pt>
                <c:pt idx="13">
                  <c:v>145.78715075989001</c:v>
                </c:pt>
                <c:pt idx="14">
                  <c:v>132.6237338524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CBC-4D6C-A19E-06D4AE948D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3.04.202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Moravskoslezský kraj</c:v>
                </c:pt>
                <c:pt idx="2">
                  <c:v>Pardubický kraj</c:v>
                </c:pt>
                <c:pt idx="3">
                  <c:v>Hlavní město Praha</c:v>
                </c:pt>
                <c:pt idx="4">
                  <c:v>Ústecký kraj</c:v>
                </c:pt>
                <c:pt idx="5">
                  <c:v>ČR</c:v>
                </c:pt>
                <c:pt idx="6">
                  <c:v>Královéhradecký kraj</c:v>
                </c:pt>
                <c:pt idx="7">
                  <c:v>Kraj Vysočina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Jihomoravský kraj</c:v>
                </c:pt>
                <c:pt idx="11">
                  <c:v>Karlovarský kraj</c:v>
                </c:pt>
                <c:pt idx="12">
                  <c:v>Olomoucký kraj</c:v>
                </c:pt>
                <c:pt idx="13">
                  <c:v>Jihočeský kraj</c:v>
                </c:pt>
                <c:pt idx="14">
                  <c:v>Plzeň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705.8241498726902</c:v>
                </c:pt>
                <c:pt idx="1">
                  <c:v>2141.2032185534599</c:v>
                </c:pt>
                <c:pt idx="2">
                  <c:v>1977.21743654084</c:v>
                </c:pt>
                <c:pt idx="3">
                  <c:v>1194.7562849977901</c:v>
                </c:pt>
                <c:pt idx="4">
                  <c:v>2021.5323303190601</c:v>
                </c:pt>
                <c:pt idx="5">
                  <c:v>1553.7699953942199</c:v>
                </c:pt>
                <c:pt idx="6">
                  <c:v>1680.63717880984</c:v>
                </c:pt>
                <c:pt idx="7">
                  <c:v>1738.4229599176099</c:v>
                </c:pt>
                <c:pt idx="8">
                  <c:v>1246.64072955807</c:v>
                </c:pt>
                <c:pt idx="9">
                  <c:v>1422.6760321463701</c:v>
                </c:pt>
                <c:pt idx="10">
                  <c:v>1272.12051597596</c:v>
                </c:pt>
                <c:pt idx="11">
                  <c:v>1238.95796611787</c:v>
                </c:pt>
                <c:pt idx="12">
                  <c:v>1279.2575040997699</c:v>
                </c:pt>
                <c:pt idx="13">
                  <c:v>1336.18003856726</c:v>
                </c:pt>
                <c:pt idx="14">
                  <c:v>673.388140585847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93-458E-B4A3-550296D2DD8D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0.05.2021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Moravskoslezský kraj</c:v>
                </c:pt>
                <c:pt idx="2">
                  <c:v>Pardubický kraj</c:v>
                </c:pt>
                <c:pt idx="3">
                  <c:v>Hlavní město Praha</c:v>
                </c:pt>
                <c:pt idx="4">
                  <c:v>Ústecký kraj</c:v>
                </c:pt>
                <c:pt idx="5">
                  <c:v>ČR</c:v>
                </c:pt>
                <c:pt idx="6">
                  <c:v>Královéhradecký kraj</c:v>
                </c:pt>
                <c:pt idx="7">
                  <c:v>Kraj Vysočina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Jihomoravský kraj</c:v>
                </c:pt>
                <c:pt idx="11">
                  <c:v>Karlovarský kraj</c:v>
                </c:pt>
                <c:pt idx="12">
                  <c:v>Olomoucký kraj</c:v>
                </c:pt>
                <c:pt idx="13">
                  <c:v>Jihočeský kraj</c:v>
                </c:pt>
                <c:pt idx="14">
                  <c:v>Plzeň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774.0860064917701</c:v>
                </c:pt>
                <c:pt idx="1">
                  <c:v>2167.7785844467799</c:v>
                </c:pt>
                <c:pt idx="2">
                  <c:v>1892.49047538901</c:v>
                </c:pt>
                <c:pt idx="3">
                  <c:v>1421.40869038951</c:v>
                </c:pt>
                <c:pt idx="4">
                  <c:v>2015.9020029277699</c:v>
                </c:pt>
                <c:pt idx="5">
                  <c:v>1544.98640739757</c:v>
                </c:pt>
                <c:pt idx="6">
                  <c:v>1769.0535454599899</c:v>
                </c:pt>
                <c:pt idx="7">
                  <c:v>1574.72113699071</c:v>
                </c:pt>
                <c:pt idx="8">
                  <c:v>1220.96113224849</c:v>
                </c:pt>
                <c:pt idx="9">
                  <c:v>1319.61959518708</c:v>
                </c:pt>
                <c:pt idx="10">
                  <c:v>1230.70925361846</c:v>
                </c:pt>
                <c:pt idx="11">
                  <c:v>1467.38444858869</c:v>
                </c:pt>
                <c:pt idx="12">
                  <c:v>1028.03708673131</c:v>
                </c:pt>
                <c:pt idx="13">
                  <c:v>1143.6545044603999</c:v>
                </c:pt>
                <c:pt idx="14">
                  <c:v>633.62778555125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93-458E-B4A3-550296D2DD8D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31.05.2021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Moravskoslezský kraj</c:v>
                </c:pt>
                <c:pt idx="2">
                  <c:v>Pardubický kraj</c:v>
                </c:pt>
                <c:pt idx="3">
                  <c:v>Hlavní město Praha</c:v>
                </c:pt>
                <c:pt idx="4">
                  <c:v>Ústecký kraj</c:v>
                </c:pt>
                <c:pt idx="5">
                  <c:v>ČR</c:v>
                </c:pt>
                <c:pt idx="6">
                  <c:v>Královéhradecký kraj</c:v>
                </c:pt>
                <c:pt idx="7">
                  <c:v>Kraj Vysočina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Jihomoravský kraj</c:v>
                </c:pt>
                <c:pt idx="11">
                  <c:v>Karlovarský kraj</c:v>
                </c:pt>
                <c:pt idx="12">
                  <c:v>Olomoucký kraj</c:v>
                </c:pt>
                <c:pt idx="13">
                  <c:v>Jihočeský kraj</c:v>
                </c:pt>
                <c:pt idx="14">
                  <c:v>Plzeň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2505.5204190864201</c:v>
                </c:pt>
                <c:pt idx="1">
                  <c:v>2061.1417850262401</c:v>
                </c:pt>
                <c:pt idx="2">
                  <c:v>1794.9492785776499</c:v>
                </c:pt>
                <c:pt idx="3">
                  <c:v>1468.29712587372</c:v>
                </c:pt>
                <c:pt idx="4">
                  <c:v>1682.3663042041401</c:v>
                </c:pt>
                <c:pt idx="5">
                  <c:v>1415.4097959619201</c:v>
                </c:pt>
                <c:pt idx="6">
                  <c:v>1489.46174948211</c:v>
                </c:pt>
                <c:pt idx="7">
                  <c:v>1313.54499933182</c:v>
                </c:pt>
                <c:pt idx="8">
                  <c:v>1166.3115156899401</c:v>
                </c:pt>
                <c:pt idx="9">
                  <c:v>1357.3617552138401</c:v>
                </c:pt>
                <c:pt idx="10">
                  <c:v>1135.75615710178</c:v>
                </c:pt>
                <c:pt idx="11">
                  <c:v>1041.55657305726</c:v>
                </c:pt>
                <c:pt idx="12">
                  <c:v>938.74599141663498</c:v>
                </c:pt>
                <c:pt idx="13">
                  <c:v>937.45484040891802</c:v>
                </c:pt>
                <c:pt idx="14">
                  <c:v>538.879705468825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193-458E-B4A3-550296D2DD8D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15.06.202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Moravskoslezský kraj</c:v>
                </c:pt>
                <c:pt idx="2">
                  <c:v>Pardubický kraj</c:v>
                </c:pt>
                <c:pt idx="3">
                  <c:v>Hlavní město Praha</c:v>
                </c:pt>
                <c:pt idx="4">
                  <c:v>Ústecký kraj</c:v>
                </c:pt>
                <c:pt idx="5">
                  <c:v>ČR</c:v>
                </c:pt>
                <c:pt idx="6">
                  <c:v>Královéhradecký kraj</c:v>
                </c:pt>
                <c:pt idx="7">
                  <c:v>Kraj Vysočina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Jihomoravský kraj</c:v>
                </c:pt>
                <c:pt idx="11">
                  <c:v>Karlovarský kraj</c:v>
                </c:pt>
                <c:pt idx="12">
                  <c:v>Olomoucký kraj</c:v>
                </c:pt>
                <c:pt idx="13">
                  <c:v>Jihočeský kraj</c:v>
                </c:pt>
                <c:pt idx="14">
                  <c:v>Plzeň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696.8932236317</c:v>
                </c:pt>
                <c:pt idx="1">
                  <c:v>1507.66996916586</c:v>
                </c:pt>
                <c:pt idx="2">
                  <c:v>1416.83369799715</c:v>
                </c:pt>
                <c:pt idx="3">
                  <c:v>1268.75911927639</c:v>
                </c:pt>
                <c:pt idx="4">
                  <c:v>1120.67994771139</c:v>
                </c:pt>
                <c:pt idx="5">
                  <c:v>1031.8753610000001</c:v>
                </c:pt>
                <c:pt idx="6">
                  <c:v>984.38098557923604</c:v>
                </c:pt>
                <c:pt idx="7">
                  <c:v>966.88231548662395</c:v>
                </c:pt>
                <c:pt idx="8">
                  <c:v>908.65717165344404</c:v>
                </c:pt>
                <c:pt idx="9">
                  <c:v>855.18762599553395</c:v>
                </c:pt>
                <c:pt idx="10">
                  <c:v>809.82024165772202</c:v>
                </c:pt>
                <c:pt idx="11">
                  <c:v>743.57934069980297</c:v>
                </c:pt>
                <c:pt idx="12">
                  <c:v>587.92556009147904</c:v>
                </c:pt>
                <c:pt idx="13">
                  <c:v>585.81215785539905</c:v>
                </c:pt>
                <c:pt idx="14">
                  <c:v>371.54782832324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193-458E-B4A3-550296D2DD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7"/>
            <c:marker>
              <c:symbol val="circle"/>
              <c:size val="6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9229-468C-B57C-8F6C988BCB92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9229-468C-B57C-8F6C988BCB92}"/>
              </c:ext>
            </c:extLst>
          </c:dPt>
          <c:dPt>
            <c:idx val="14"/>
            <c:marker>
              <c:symbol val="circle"/>
              <c:size val="8"/>
              <c:spPr>
                <a:solidFill>
                  <a:srgbClr val="00B0F0"/>
                </a:solidFill>
                <a:ln w="9525">
                  <a:solidFill>
                    <a:srgbClr val="00B0F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9229-468C-B57C-8F6C988BCB92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41AAC031-69C6-478A-8289-4DF0562AADDE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9229-468C-B57C-8F6C988BCB9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877F29D-D7EF-4DAF-83A6-C0AE43A1D19A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9229-468C-B57C-8F6C988BCB9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3C311C9-2A4F-43FE-AAAA-70569E6C73D5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9229-468C-B57C-8F6C988BCB9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284900B-7A4F-444D-95BB-C1F445B28333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9229-468C-B57C-8F6C988BCB92}"/>
                </c:ext>
              </c:extLst>
            </c:dLbl>
            <c:dLbl>
              <c:idx val="4"/>
              <c:layout>
                <c:manualLayout>
                  <c:x val="-2.3808627039817329E-2"/>
                  <c:y val="3.6301042215580323E-2"/>
                </c:manualLayout>
              </c:layout>
              <c:tx>
                <c:rich>
                  <a:bodyPr/>
                  <a:lstStyle/>
                  <a:p>
                    <a:fld id="{A772DCFA-DFED-4A56-A21E-A30DCFBD64CC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9229-468C-B57C-8F6C988BCB92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937A028-7EAF-42C4-B47B-DA7F240060F2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9229-468C-B57C-8F6C988BCB92}"/>
                </c:ext>
              </c:extLst>
            </c:dLbl>
            <c:dLbl>
              <c:idx val="6"/>
              <c:layout>
                <c:manualLayout>
                  <c:x val="-1.731536511986715E-2"/>
                  <c:y val="4.9265700149716277E-2"/>
                </c:manualLayout>
              </c:layout>
              <c:tx>
                <c:rich>
                  <a:bodyPr/>
                  <a:lstStyle/>
                  <a:p>
                    <a:fld id="{EA73BED2-E8D3-4882-95F9-3D74B99D7CB7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9229-468C-B57C-8F6C988BCB92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47BFC8F-910A-493E-BBDB-14E8F553AF8F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9229-468C-B57C-8F6C988BCB92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DEBF31C4-2AF1-4B13-B34D-DA76D37EBDC1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9229-468C-B57C-8F6C988BCB92}"/>
                </c:ext>
              </c:extLst>
            </c:dLbl>
            <c:dLbl>
              <c:idx val="9"/>
              <c:layout>
                <c:manualLayout>
                  <c:x val="-3.2466309599750907E-2"/>
                  <c:y val="4.9265700149716277E-2"/>
                </c:manualLayout>
              </c:layout>
              <c:tx>
                <c:rich>
                  <a:bodyPr/>
                  <a:lstStyle/>
                  <a:p>
                    <a:fld id="{1615BF37-0174-4454-A586-F82DA3E8FD01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9229-468C-B57C-8F6C988BCB92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6A58F0B3-92DB-4C44-A1B7-48F76FAB929B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9229-468C-B57C-8F6C988BCB92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D6C47CA6-1EA2-4B05-9424-185D1E2CA2F8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9229-468C-B57C-8F6C988BCB92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FBE0FF90-4E01-4E45-90B5-2AEF7CBE26CE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9229-468C-B57C-8F6C988BCB92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2F095A84-E13F-4A6D-BE8A-148EE57FC644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9229-468C-B57C-8F6C988BCB92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0C3CD771-6EFA-4F27-8AF7-7D807052C678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9229-468C-B57C-8F6C988BCB92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9229-468C-B57C-8F6C988BCB92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9229-468C-B57C-8F6C988BCB92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9229-468C-B57C-8F6C988BCB9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19</c:f>
              <c:numCache>
                <c:formatCode>[$-10405]#\ ##0.0;\(#\ ##0.0\)</c:formatCode>
                <c:ptCount val="18"/>
                <c:pt idx="0">
                  <c:v>1260.7446422846799</c:v>
                </c:pt>
                <c:pt idx="1">
                  <c:v>903.00622962710202</c:v>
                </c:pt>
                <c:pt idx="2">
                  <c:v>585.190606494279</c:v>
                </c:pt>
                <c:pt idx="3">
                  <c:v>368.50235432059702</c:v>
                </c:pt>
                <c:pt idx="4">
                  <c:v>736.07876963359695</c:v>
                </c:pt>
                <c:pt idx="5">
                  <c:v>1103.6665671159501</c:v>
                </c:pt>
                <c:pt idx="6">
                  <c:v>851.57161066362903</c:v>
                </c:pt>
                <c:pt idx="7">
                  <c:v>980.56837017953706</c:v>
                </c:pt>
                <c:pt idx="8">
                  <c:v>1405.1670058295199</c:v>
                </c:pt>
                <c:pt idx="9">
                  <c:v>963.14842036584298</c:v>
                </c:pt>
                <c:pt idx="10">
                  <c:v>808.14705934024698</c:v>
                </c:pt>
                <c:pt idx="11">
                  <c:v>585.22938136972198</c:v>
                </c:pt>
                <c:pt idx="12">
                  <c:v>1685.3438691027179</c:v>
                </c:pt>
                <c:pt idx="13">
                  <c:v>1504.4842786171421</c:v>
                </c:pt>
                <c:pt idx="14">
                  <c:v>1025.9137337658969</c:v>
                </c:pt>
              </c:numCache>
            </c:numRef>
          </c:xVal>
          <c:yVal>
            <c:numRef>
              <c:f>Sheet1!$B$2:$B$19</c:f>
              <c:numCache>
                <c:formatCode>[$-10405]#\ ##0.0;\(#\ ##0.0\)</c:formatCode>
                <c:ptCount val="18"/>
                <c:pt idx="0">
                  <c:v>4.4940992473474317</c:v>
                </c:pt>
                <c:pt idx="1">
                  <c:v>3.7196074092416502</c:v>
                </c:pt>
                <c:pt idx="2">
                  <c:v>4.8170230485223362</c:v>
                </c:pt>
                <c:pt idx="3">
                  <c:v>2.8762810024492378</c:v>
                </c:pt>
                <c:pt idx="4">
                  <c:v>2.3865453388048858</c:v>
                </c:pt>
                <c:pt idx="5">
                  <c:v>2.6927652734509246</c:v>
                </c:pt>
                <c:pt idx="6">
                  <c:v>8.5880364132563098</c:v>
                </c:pt>
                <c:pt idx="7">
                  <c:v>2.3601904847782218</c:v>
                </c:pt>
                <c:pt idx="8">
                  <c:v>2.8688587284537213</c:v>
                </c:pt>
                <c:pt idx="9">
                  <c:v>2.3582495499088139</c:v>
                </c:pt>
                <c:pt idx="10">
                  <c:v>2.5934325913996741</c:v>
                </c:pt>
                <c:pt idx="11">
                  <c:v>3.4891724631019994</c:v>
                </c:pt>
                <c:pt idx="12">
                  <c:v>6.033244901908227</c:v>
                </c:pt>
                <c:pt idx="13">
                  <c:v>5.0300377076070939</c:v>
                </c:pt>
                <c:pt idx="14">
                  <c:v>3.8778606580766914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16</c15:f>
                <c15:dlblRangeCache>
                  <c:ptCount val="15"/>
                  <c:pt idx="0">
                    <c:v>HMP</c:v>
                  </c:pt>
                  <c:pt idx="1">
                    <c:v>STC</c:v>
                  </c:pt>
                  <c:pt idx="2">
                    <c:v>JHC</c:v>
                  </c:pt>
                  <c:pt idx="3">
                    <c:v>PLK</c:v>
                  </c:pt>
                  <c:pt idx="4">
                    <c:v>KVK</c:v>
                  </c:pt>
                  <c:pt idx="5">
                    <c:v>ULK</c:v>
                  </c:pt>
                  <c:pt idx="6">
                    <c:v>LBK</c:v>
                  </c:pt>
                  <c:pt idx="7">
                    <c:v>HKK</c:v>
                  </c:pt>
                  <c:pt idx="8">
                    <c:v>PAR</c:v>
                  </c:pt>
                  <c:pt idx="9">
                    <c:v>VYS</c:v>
                  </c:pt>
                  <c:pt idx="10">
                    <c:v>JMK</c:v>
                  </c:pt>
                  <c:pt idx="11">
                    <c:v>OLO</c:v>
                  </c:pt>
                  <c:pt idx="12">
                    <c:v>ZLK</c:v>
                  </c:pt>
                  <c:pt idx="13">
                    <c:v>MSK</c:v>
                  </c:pt>
                  <c:pt idx="14">
                    <c:v>ČR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2-9229-468C-B57C-8F6C988BCB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70038783"/>
        <c:axId val="270818111"/>
      </c:scatterChart>
      <c:valAx>
        <c:axId val="770038783"/>
        <c:scaling>
          <c:orientation val="minMax"/>
        </c:scaling>
        <c:delete val="0"/>
        <c:axPos val="b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70818111"/>
        <c:crosses val="autoZero"/>
        <c:crossBetween val="midCat"/>
      </c:valAx>
      <c:valAx>
        <c:axId val="270818111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7003878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3.04.202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Hlavní město Praha</c:v>
                </c:pt>
                <c:pt idx="2">
                  <c:v>Moravskoslezský kraj</c:v>
                </c:pt>
                <c:pt idx="3">
                  <c:v>Pardubický kraj</c:v>
                </c:pt>
                <c:pt idx="4">
                  <c:v>ČR</c:v>
                </c:pt>
                <c:pt idx="5">
                  <c:v>Kraj Vysočina</c:v>
                </c:pt>
                <c:pt idx="6">
                  <c:v>Ústecký kraj</c:v>
                </c:pt>
                <c:pt idx="7">
                  <c:v>Jihomoravský kraj</c:v>
                </c:pt>
                <c:pt idx="8">
                  <c:v>Středočeský kraj</c:v>
                </c:pt>
                <c:pt idx="9">
                  <c:v>Královéhradecký kraj</c:v>
                </c:pt>
                <c:pt idx="10">
                  <c:v>Liberecký kraj</c:v>
                </c:pt>
                <c:pt idx="11">
                  <c:v>Karlovarský kraj</c:v>
                </c:pt>
                <c:pt idx="12">
                  <c:v>Olomoucký kraj</c:v>
                </c:pt>
                <c:pt idx="13">
                  <c:v>Jihočeský kraj</c:v>
                </c:pt>
                <c:pt idx="14">
                  <c:v>Plzeň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341.2110273926501</c:v>
                </c:pt>
                <c:pt idx="1">
                  <c:v>1894.56243951691</c:v>
                </c:pt>
                <c:pt idx="2">
                  <c:v>2704.5674419072502</c:v>
                </c:pt>
                <c:pt idx="3">
                  <c:v>2615.6341325336198</c:v>
                </c:pt>
                <c:pt idx="4">
                  <c:v>2149.3346385371301</c:v>
                </c:pt>
                <c:pt idx="5">
                  <c:v>2542.7825772523202</c:v>
                </c:pt>
                <c:pt idx="6">
                  <c:v>2483.0967779839498</c:v>
                </c:pt>
                <c:pt idx="7">
                  <c:v>1957.62331144531</c:v>
                </c:pt>
                <c:pt idx="8">
                  <c:v>1736.4844130566801</c:v>
                </c:pt>
                <c:pt idx="9">
                  <c:v>1980.9260298146501</c:v>
                </c:pt>
                <c:pt idx="10">
                  <c:v>1872.19193809381</c:v>
                </c:pt>
                <c:pt idx="11">
                  <c:v>1552.2772756562099</c:v>
                </c:pt>
                <c:pt idx="12">
                  <c:v>2024.03722629821</c:v>
                </c:pt>
                <c:pt idx="13">
                  <c:v>1912.0473746447401</c:v>
                </c:pt>
                <c:pt idx="14">
                  <c:v>1347.62224617243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93-458E-B4A3-550296D2DD8D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0.05.2021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Hlavní město Praha</c:v>
                </c:pt>
                <c:pt idx="2">
                  <c:v>Moravskoslezský kraj</c:v>
                </c:pt>
                <c:pt idx="3">
                  <c:v>Pardubický kraj</c:v>
                </c:pt>
                <c:pt idx="4">
                  <c:v>ČR</c:v>
                </c:pt>
                <c:pt idx="5">
                  <c:v>Kraj Vysočina</c:v>
                </c:pt>
                <c:pt idx="6">
                  <c:v>Ústecký kraj</c:v>
                </c:pt>
                <c:pt idx="7">
                  <c:v>Jihomoravský kraj</c:v>
                </c:pt>
                <c:pt idx="8">
                  <c:v>Středočeský kraj</c:v>
                </c:pt>
                <c:pt idx="9">
                  <c:v>Královéhradecký kraj</c:v>
                </c:pt>
                <c:pt idx="10">
                  <c:v>Liberecký kraj</c:v>
                </c:pt>
                <c:pt idx="11">
                  <c:v>Karlovarský kraj</c:v>
                </c:pt>
                <c:pt idx="12">
                  <c:v>Olomoucký kraj</c:v>
                </c:pt>
                <c:pt idx="13">
                  <c:v>Jihočeský kraj</c:v>
                </c:pt>
                <c:pt idx="14">
                  <c:v>Plzeň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225.7174821028002</c:v>
                </c:pt>
                <c:pt idx="1">
                  <c:v>2153.19785122134</c:v>
                </c:pt>
                <c:pt idx="2">
                  <c:v>2568.33725396828</c:v>
                </c:pt>
                <c:pt idx="3">
                  <c:v>2380.19645944581</c:v>
                </c:pt>
                <c:pt idx="4">
                  <c:v>2024.5235908017801</c:v>
                </c:pt>
                <c:pt idx="5">
                  <c:v>2198.2816221612502</c:v>
                </c:pt>
                <c:pt idx="6">
                  <c:v>2314.9213467743102</c:v>
                </c:pt>
                <c:pt idx="7">
                  <c:v>1742.5357245339501</c:v>
                </c:pt>
                <c:pt idx="8">
                  <c:v>1684.4099093202601</c:v>
                </c:pt>
                <c:pt idx="9">
                  <c:v>2044.4696198096201</c:v>
                </c:pt>
                <c:pt idx="10">
                  <c:v>1601.66879107567</c:v>
                </c:pt>
                <c:pt idx="11">
                  <c:v>1752.0652140560701</c:v>
                </c:pt>
                <c:pt idx="12">
                  <c:v>1529.05053273319</c:v>
                </c:pt>
                <c:pt idx="13">
                  <c:v>1540.9812120562301</c:v>
                </c:pt>
                <c:pt idx="14">
                  <c:v>1146.620961997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93-458E-B4A3-550296D2DD8D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31.05.2021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Hlavní město Praha</c:v>
                </c:pt>
                <c:pt idx="2">
                  <c:v>Moravskoslezský kraj</c:v>
                </c:pt>
                <c:pt idx="3">
                  <c:v>Pardubický kraj</c:v>
                </c:pt>
                <c:pt idx="4">
                  <c:v>ČR</c:v>
                </c:pt>
                <c:pt idx="5">
                  <c:v>Kraj Vysočina</c:v>
                </c:pt>
                <c:pt idx="6">
                  <c:v>Ústecký kraj</c:v>
                </c:pt>
                <c:pt idx="7">
                  <c:v>Jihomoravský kraj</c:v>
                </c:pt>
                <c:pt idx="8">
                  <c:v>Středočeský kraj</c:v>
                </c:pt>
                <c:pt idx="9">
                  <c:v>Královéhradecký kraj</c:v>
                </c:pt>
                <c:pt idx="10">
                  <c:v>Liberecký kraj</c:v>
                </c:pt>
                <c:pt idx="11">
                  <c:v>Karlovarský kraj</c:v>
                </c:pt>
                <c:pt idx="12">
                  <c:v>Olomoucký kraj</c:v>
                </c:pt>
                <c:pt idx="13">
                  <c:v>Jihočeský kraj</c:v>
                </c:pt>
                <c:pt idx="14">
                  <c:v>Plzeň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2860.1028409688302</c:v>
                </c:pt>
                <c:pt idx="1">
                  <c:v>2584.0321657663399</c:v>
                </c:pt>
                <c:pt idx="2">
                  <c:v>2409.8910661500199</c:v>
                </c:pt>
                <c:pt idx="3">
                  <c:v>2224.7043162935802</c:v>
                </c:pt>
                <c:pt idx="4">
                  <c:v>1909.5520304711999</c:v>
                </c:pt>
                <c:pt idx="5">
                  <c:v>1897.0152421529201</c:v>
                </c:pt>
                <c:pt idx="6">
                  <c:v>1918.35046095245</c:v>
                </c:pt>
                <c:pt idx="7">
                  <c:v>1515.3175658209</c:v>
                </c:pt>
                <c:pt idx="8">
                  <c:v>1694.0665824032501</c:v>
                </c:pt>
                <c:pt idx="9">
                  <c:v>1796.4680657149599</c:v>
                </c:pt>
                <c:pt idx="10">
                  <c:v>1602.5727949086499</c:v>
                </c:pt>
                <c:pt idx="11">
                  <c:v>1230.7755249547399</c:v>
                </c:pt>
                <c:pt idx="12">
                  <c:v>1394.24159664531</c:v>
                </c:pt>
                <c:pt idx="13">
                  <c:v>1339.28779537286</c:v>
                </c:pt>
                <c:pt idx="14">
                  <c:v>971.337013845062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193-458E-B4A3-550296D2DD8D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15.06.202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Hlavní město Praha</c:v>
                </c:pt>
                <c:pt idx="2">
                  <c:v>Moravskoslezský kraj</c:v>
                </c:pt>
                <c:pt idx="3">
                  <c:v>Pardubický kraj</c:v>
                </c:pt>
                <c:pt idx="4">
                  <c:v>ČR</c:v>
                </c:pt>
                <c:pt idx="5">
                  <c:v>Kraj Vysočina</c:v>
                </c:pt>
                <c:pt idx="6">
                  <c:v>Ústecký kraj</c:v>
                </c:pt>
                <c:pt idx="7">
                  <c:v>Jihomoravský kraj</c:v>
                </c:pt>
                <c:pt idx="8">
                  <c:v>Středočeský kraj</c:v>
                </c:pt>
                <c:pt idx="9">
                  <c:v>Královéhradecký kraj</c:v>
                </c:pt>
                <c:pt idx="10">
                  <c:v>Liberecký kraj</c:v>
                </c:pt>
                <c:pt idx="11">
                  <c:v>Karlovarský kraj</c:v>
                </c:pt>
                <c:pt idx="12">
                  <c:v>Olomoucký kraj</c:v>
                </c:pt>
                <c:pt idx="13">
                  <c:v>Jihočeský kraj</c:v>
                </c:pt>
                <c:pt idx="14">
                  <c:v>Plzeň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945.4629136435799</c:v>
                </c:pt>
                <c:pt idx="1">
                  <c:v>1885.79894598392</c:v>
                </c:pt>
                <c:pt idx="2">
                  <c:v>1740.14154526111</c:v>
                </c:pt>
                <c:pt idx="3">
                  <c:v>1698.55562525819</c:v>
                </c:pt>
                <c:pt idx="4">
                  <c:v>1352.3081259999999</c:v>
                </c:pt>
                <c:pt idx="5">
                  <c:v>1348.52570098967</c:v>
                </c:pt>
                <c:pt idx="6">
                  <c:v>1329.6140532971599</c:v>
                </c:pt>
                <c:pt idx="7">
                  <c:v>1280.98838225857</c:v>
                </c:pt>
                <c:pt idx="8">
                  <c:v>1190.9896802353601</c:v>
                </c:pt>
                <c:pt idx="9">
                  <c:v>1130.1681363391201</c:v>
                </c:pt>
                <c:pt idx="10">
                  <c:v>1046.1584357117599</c:v>
                </c:pt>
                <c:pt idx="11">
                  <c:v>876.20307455226703</c:v>
                </c:pt>
                <c:pt idx="12">
                  <c:v>778.08545934955396</c:v>
                </c:pt>
                <c:pt idx="13">
                  <c:v>773.83144459413404</c:v>
                </c:pt>
                <c:pt idx="14">
                  <c:v>716.70154862353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193-458E-B4A3-550296D2DD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7"/>
            <c:marker>
              <c:symbol val="circle"/>
              <c:size val="6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EE2A-4076-A9F7-E2AEB81261FE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EE2A-4076-A9F7-E2AEB81261FE}"/>
              </c:ext>
            </c:extLst>
          </c:dPt>
          <c:dPt>
            <c:idx val="14"/>
            <c:marker>
              <c:symbol val="circle"/>
              <c:size val="8"/>
              <c:spPr>
                <a:solidFill>
                  <a:srgbClr val="00B0F0"/>
                </a:solidFill>
                <a:ln w="9525">
                  <a:solidFill>
                    <a:srgbClr val="00B0F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EE2A-4076-A9F7-E2AEB81261FE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CA65F250-94E8-48C0-9082-E9E098CB1287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EE2A-4076-A9F7-E2AEB81261F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BA75343-B65F-4419-B74F-E284B6B3F5BA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EE2A-4076-A9F7-E2AEB81261F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A28A90E-22F9-47D6-BED1-F9419115DB60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EE2A-4076-A9F7-E2AEB81261F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0C18CA3-525A-4E2B-BF26-59E69D7FA2F3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EE2A-4076-A9F7-E2AEB81261FE}"/>
                </c:ext>
              </c:extLst>
            </c:dLbl>
            <c:dLbl>
              <c:idx val="4"/>
              <c:layout>
                <c:manualLayout>
                  <c:x val="-2.3808627039817329E-2"/>
                  <c:y val="3.6301042215580323E-2"/>
                </c:manualLayout>
              </c:layout>
              <c:tx>
                <c:rich>
                  <a:bodyPr/>
                  <a:lstStyle/>
                  <a:p>
                    <a:fld id="{0FBFCEEB-0A9E-47C9-A878-D8C3C7C5E3DA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EE2A-4076-A9F7-E2AEB81261F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745A7571-E240-49B3-A4D1-65ED61873FDF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EE2A-4076-A9F7-E2AEB81261FE}"/>
                </c:ext>
              </c:extLst>
            </c:dLbl>
            <c:dLbl>
              <c:idx val="6"/>
              <c:layout>
                <c:manualLayout>
                  <c:x val="-1.731536511986715E-2"/>
                  <c:y val="4.9265700149716277E-2"/>
                </c:manualLayout>
              </c:layout>
              <c:tx>
                <c:rich>
                  <a:bodyPr/>
                  <a:lstStyle/>
                  <a:p>
                    <a:fld id="{0A604B58-F9CF-4678-AEC4-4C5C539CCCCE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EE2A-4076-A9F7-E2AEB81261FE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245F7331-3E56-4F56-AD7A-591581883EDF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EE2A-4076-A9F7-E2AEB81261FE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64C95E9C-366E-446C-BADB-883F9C6501AD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EE2A-4076-A9F7-E2AEB81261FE}"/>
                </c:ext>
              </c:extLst>
            </c:dLbl>
            <c:dLbl>
              <c:idx val="9"/>
              <c:layout>
                <c:manualLayout>
                  <c:x val="-3.2466309599750907E-2"/>
                  <c:y val="4.9265700149716277E-2"/>
                </c:manualLayout>
              </c:layout>
              <c:tx>
                <c:rich>
                  <a:bodyPr/>
                  <a:lstStyle/>
                  <a:p>
                    <a:fld id="{0E90FDB2-8720-4DB2-B8BB-7CADA15E67AF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EE2A-4076-A9F7-E2AEB81261FE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6C379A75-ED21-4F96-98DB-5EA0D70C8DCF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EE2A-4076-A9F7-E2AEB81261FE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0AEF979B-7C26-4617-82A9-E3333FBF2025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EE2A-4076-A9F7-E2AEB81261FE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4C487DBD-04D1-4AFF-828B-0A7F4CA59BEF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EE2A-4076-A9F7-E2AEB81261FE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9CBFA56E-5D59-4332-9828-442ABED7DD81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EE2A-4076-A9F7-E2AEB81261FE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E0814459-498E-4282-B2FD-A9ECA711DB06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EE2A-4076-A9F7-E2AEB81261FE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E2A-4076-A9F7-E2AEB81261FE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EE2A-4076-A9F7-E2AEB81261FE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EE2A-4076-A9F7-E2AEB81261F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19</c:f>
              <c:numCache>
                <c:formatCode>[$-10405]#\ ##0.0;\(#\ ##0.0\)</c:formatCode>
                <c:ptCount val="18"/>
                <c:pt idx="0">
                  <c:v>1876.9605507968031</c:v>
                </c:pt>
                <c:pt idx="1">
                  <c:v>1185.1241454738449</c:v>
                </c:pt>
                <c:pt idx="2">
                  <c:v>773.05450539273397</c:v>
                </c:pt>
                <c:pt idx="3">
                  <c:v>713.82526762102702</c:v>
                </c:pt>
                <c:pt idx="4">
                  <c:v>868.70250348605998</c:v>
                </c:pt>
                <c:pt idx="5">
                  <c:v>1312.7230711232739</c:v>
                </c:pt>
                <c:pt idx="6">
                  <c:v>1042.5424203798621</c:v>
                </c:pt>
                <c:pt idx="7">
                  <c:v>1125.4477553680711</c:v>
                </c:pt>
                <c:pt idx="8">
                  <c:v>1686.6976758419139</c:v>
                </c:pt>
                <c:pt idx="9">
                  <c:v>1344.595285073066</c:v>
                </c:pt>
                <c:pt idx="10">
                  <c:v>1279.4825181728511</c:v>
                </c:pt>
                <c:pt idx="11">
                  <c:v>775.70647812447396</c:v>
                </c:pt>
                <c:pt idx="12">
                  <c:v>1933.913559114595</c:v>
                </c:pt>
                <c:pt idx="13">
                  <c:v>1736.7881867887729</c:v>
                </c:pt>
                <c:pt idx="14">
                  <c:v>1346.1689586692</c:v>
                </c:pt>
              </c:numCache>
            </c:numRef>
          </c:xVal>
          <c:yVal>
            <c:numRef>
              <c:f>Sheet1!$B$2:$B$19</c:f>
              <c:numCache>
                <c:formatCode>[$-10405]#\ ##0.0;\(#\ ##0.0\)</c:formatCode>
                <c:ptCount val="18"/>
                <c:pt idx="0">
                  <c:v>8.7634935323197602</c:v>
                </c:pt>
                <c:pt idx="1">
                  <c:v>6.5808438785307786</c:v>
                </c:pt>
                <c:pt idx="2">
                  <c:v>9.7894339369296155</c:v>
                </c:pt>
                <c:pt idx="3">
                  <c:v>5.583369004432849</c:v>
                </c:pt>
                <c:pt idx="4">
                  <c:v>2.7274803873363056</c:v>
                </c:pt>
                <c:pt idx="5">
                  <c:v>5.0183352824404741</c:v>
                </c:pt>
                <c:pt idx="6">
                  <c:v>13.108055577342045</c:v>
                </c:pt>
                <c:pt idx="7">
                  <c:v>3.6310622844054934</c:v>
                </c:pt>
                <c:pt idx="8">
                  <c:v>5.5464602095934623</c:v>
                </c:pt>
                <c:pt idx="9">
                  <c:v>6.8782278529686414</c:v>
                </c:pt>
                <c:pt idx="10">
                  <c:v>4.6849104883716324</c:v>
                </c:pt>
                <c:pt idx="11">
                  <c:v>8.0885361649564889</c:v>
                </c:pt>
                <c:pt idx="12">
                  <c:v>10.170327122494864</c:v>
                </c:pt>
                <c:pt idx="13">
                  <c:v>8.7187320265409056</c:v>
                </c:pt>
                <c:pt idx="14">
                  <c:v>7.1670340347587489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16</c15:f>
                <c15:dlblRangeCache>
                  <c:ptCount val="15"/>
                  <c:pt idx="0">
                    <c:v>HMP</c:v>
                  </c:pt>
                  <c:pt idx="1">
                    <c:v>STC</c:v>
                  </c:pt>
                  <c:pt idx="2">
                    <c:v>JHC</c:v>
                  </c:pt>
                  <c:pt idx="3">
                    <c:v>PLK</c:v>
                  </c:pt>
                  <c:pt idx="4">
                    <c:v>KVK</c:v>
                  </c:pt>
                  <c:pt idx="5">
                    <c:v>ULK</c:v>
                  </c:pt>
                  <c:pt idx="6">
                    <c:v>LBK</c:v>
                  </c:pt>
                  <c:pt idx="7">
                    <c:v>HKK</c:v>
                  </c:pt>
                  <c:pt idx="8">
                    <c:v>PAR</c:v>
                  </c:pt>
                  <c:pt idx="9">
                    <c:v>VYS</c:v>
                  </c:pt>
                  <c:pt idx="10">
                    <c:v>JMK</c:v>
                  </c:pt>
                  <c:pt idx="11">
                    <c:v>OLO</c:v>
                  </c:pt>
                  <c:pt idx="12">
                    <c:v>ZLK</c:v>
                  </c:pt>
                  <c:pt idx="13">
                    <c:v>MSK</c:v>
                  </c:pt>
                  <c:pt idx="14">
                    <c:v>ČR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2-EE2A-4076-A9F7-E2AEB81261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70038783"/>
        <c:axId val="270818111"/>
      </c:scatterChart>
      <c:valAx>
        <c:axId val="770038783"/>
        <c:scaling>
          <c:orientation val="minMax"/>
        </c:scaling>
        <c:delete val="0"/>
        <c:axPos val="b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70818111"/>
        <c:crosses val="autoZero"/>
        <c:crossBetween val="midCat"/>
      </c:valAx>
      <c:valAx>
        <c:axId val="270818111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7003878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7"/>
            <c:marker>
              <c:symbol val="circle"/>
              <c:size val="6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786F-4B04-9C07-35FD2B4C764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786F-4B04-9C07-35FD2B4C764C}"/>
              </c:ext>
            </c:extLst>
          </c:dPt>
          <c:dPt>
            <c:idx val="13"/>
            <c:marker>
              <c:symbol val="circle"/>
              <c:size val="8"/>
              <c:spPr>
                <a:solidFill>
                  <a:srgbClr val="00B0F0"/>
                </a:solidFill>
                <a:ln w="9525">
                  <a:solidFill>
                    <a:srgbClr val="00B0F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786F-4B04-9C07-35FD2B4C764C}"/>
              </c:ext>
            </c:extLst>
          </c:dPt>
          <c:dPt>
            <c:idx val="14"/>
            <c:marker>
              <c:symbol val="circle"/>
              <c:size val="8"/>
              <c:spPr>
                <a:solidFill>
                  <a:srgbClr val="00B0F0"/>
                </a:solidFill>
                <a:ln w="9525">
                  <a:solidFill>
                    <a:srgbClr val="00B0F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786F-4B04-9C07-35FD2B4C764C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94D40AB7-3213-4BC9-9D22-3FF56A741DC3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786F-4B04-9C07-35FD2B4C764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435436F-9C86-4EF2-992A-C55BDB576FE1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786F-4B04-9C07-35FD2B4C764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D43DD3E-A5CD-40DE-A2D5-13D23CD74BC8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786F-4B04-9C07-35FD2B4C764C}"/>
                </c:ext>
              </c:extLst>
            </c:dLbl>
            <c:dLbl>
              <c:idx val="3"/>
              <c:layout>
                <c:manualLayout>
                  <c:x val="-1.637921058636882E-2"/>
                  <c:y val="-5.2843945739537872E-2"/>
                </c:manualLayout>
              </c:layout>
              <c:tx>
                <c:rich>
                  <a:bodyPr/>
                  <a:lstStyle/>
                  <a:p>
                    <a:fld id="{C2912EEB-5CA8-4081-9B45-A1482AF3E1F6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786F-4B04-9C07-35FD2B4C764C}"/>
                </c:ext>
              </c:extLst>
            </c:dLbl>
            <c:dLbl>
              <c:idx val="4"/>
              <c:layout>
                <c:manualLayout>
                  <c:x val="-0.20977019476888503"/>
                  <c:y val="-5.5125725535945691E-2"/>
                </c:manualLayout>
              </c:layout>
              <c:tx>
                <c:rich>
                  <a:bodyPr/>
                  <a:lstStyle/>
                  <a:p>
                    <a:fld id="{30AF826A-A219-4ACE-9D69-E73A353285E3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786F-4B04-9C07-35FD2B4C764C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91F1C49-49D2-4FB0-B8A0-445651813FB7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786F-4B04-9C07-35FD2B4C764C}"/>
                </c:ext>
              </c:extLst>
            </c:dLbl>
            <c:dLbl>
              <c:idx val="6"/>
              <c:layout>
                <c:manualLayout>
                  <c:x val="-0.13691051279556057"/>
                  <c:y val="-9.9516714302426881E-2"/>
                </c:manualLayout>
              </c:layout>
              <c:tx>
                <c:rich>
                  <a:bodyPr/>
                  <a:lstStyle/>
                  <a:p>
                    <a:fld id="{80295AFA-4275-4B5B-A21B-3A660F400A28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786F-4B04-9C07-35FD2B4C764C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A01F3D8-98C7-4452-A732-EF89C1361E8A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786F-4B04-9C07-35FD2B4C764C}"/>
                </c:ext>
              </c:extLst>
            </c:dLbl>
            <c:dLbl>
              <c:idx val="8"/>
              <c:layout>
                <c:manualLayout>
                  <c:x val="-0.14554109749078886"/>
                  <c:y val="-0.22625921026653908"/>
                </c:manualLayout>
              </c:layout>
              <c:tx>
                <c:rich>
                  <a:bodyPr/>
                  <a:lstStyle/>
                  <a:p>
                    <a:fld id="{F27BB2A2-4372-48E5-A417-4A9525D903D8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786F-4B04-9C07-35FD2B4C764C}"/>
                </c:ext>
              </c:extLst>
            </c:dLbl>
            <c:dLbl>
              <c:idx val="9"/>
              <c:layout>
                <c:manualLayout>
                  <c:x val="3.767165602549994E-2"/>
                  <c:y val="-0.12772780996710653"/>
                </c:manualLayout>
              </c:layout>
              <c:tx>
                <c:rich>
                  <a:bodyPr/>
                  <a:lstStyle/>
                  <a:p>
                    <a:fld id="{83BDD1FF-8EF0-4422-A75A-E4AF2D8090DA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786F-4B04-9C07-35FD2B4C764C}"/>
                </c:ext>
              </c:extLst>
            </c:dLbl>
            <c:dLbl>
              <c:idx val="10"/>
              <c:layout>
                <c:manualLayout>
                  <c:x val="-0.24436309025412514"/>
                  <c:y val="-1.1357040350303016E-2"/>
                </c:manualLayout>
              </c:layout>
              <c:tx>
                <c:rich>
                  <a:bodyPr/>
                  <a:lstStyle/>
                  <a:p>
                    <a:fld id="{F768C051-A883-4F8D-B861-E31D5FF6087B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786F-4B04-9C07-35FD2B4C764C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13F13A45-CF84-4D97-9891-C0CDC75469A9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786F-4B04-9C07-35FD2B4C764C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0C49C3BF-5D10-42F7-94F8-8A7ABB4CBA0B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786F-4B04-9C07-35FD2B4C764C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543F5547-BC82-4B3C-91D8-129D00F1CC79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786F-4B04-9C07-35FD2B4C764C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86F-4B04-9C07-35FD2B4C764C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786F-4B04-9C07-35FD2B4C764C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786F-4B04-9C07-35FD2B4C764C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786F-4B04-9C07-35FD2B4C76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19</c:f>
              <c:numCache>
                <c:formatCode>[$-10405]#\ ##0.0;\(#\ ##0.0\)</c:formatCode>
                <c:ptCount val="18"/>
                <c:pt idx="0">
                  <c:v>616.21590851212295</c:v>
                </c:pt>
                <c:pt idx="1">
                  <c:v>297.30786365661299</c:v>
                </c:pt>
                <c:pt idx="2">
                  <c:v>132.9538403963</c:v>
                </c:pt>
                <c:pt idx="3">
                  <c:v>317.60908049567797</c:v>
                </c:pt>
                <c:pt idx="4">
                  <c:v>203.965371664581</c:v>
                </c:pt>
                <c:pt idx="5">
                  <c:v>138.61709067188499</c:v>
                </c:pt>
                <c:pt idx="6">
                  <c:v>204.05087359280199</c:v>
                </c:pt>
                <c:pt idx="7">
                  <c:v>201.74963667967901</c:v>
                </c:pt>
                <c:pt idx="8">
                  <c:v>261.06624952437301</c:v>
                </c:pt>
                <c:pt idx="9">
                  <c:v>300.15007503751798</c:v>
                </c:pt>
                <c:pt idx="10">
                  <c:v>185.884451557511</c:v>
                </c:pt>
                <c:pt idx="11">
                  <c:v>225.27337863135901</c:v>
                </c:pt>
                <c:pt idx="12">
                  <c:v>316.878772535655</c:v>
                </c:pt>
                <c:pt idx="13">
                  <c:v>320.25522490330297</c:v>
                </c:pt>
              </c:numCache>
            </c:numRef>
          </c:xVal>
          <c:yVal>
            <c:numRef>
              <c:f>Sheet1!$B$2:$B$19</c:f>
              <c:numCache>
                <c:formatCode>[$-10405]#\ ##0.0;\(#\ ##0.0\)</c:formatCode>
                <c:ptCount val="18"/>
                <c:pt idx="0">
                  <c:v>4.2693942849874569</c:v>
                </c:pt>
                <c:pt idx="1">
                  <c:v>4.5459917988298466</c:v>
                </c:pt>
                <c:pt idx="2">
                  <c:v>0.98484326214064843</c:v>
                </c:pt>
                <c:pt idx="3">
                  <c:v>7.8100593563157235</c:v>
                </c:pt>
                <c:pt idx="4">
                  <c:v>7.1209855442996428</c:v>
                </c:pt>
                <c:pt idx="5">
                  <c:v>19.569471624233501</c:v>
                </c:pt>
                <c:pt idx="6">
                  <c:v>8.11565974501986</c:v>
                </c:pt>
                <c:pt idx="7">
                  <c:v>5.6991422789615971</c:v>
                </c:pt>
                <c:pt idx="8">
                  <c:v>8.4555870289698909</c:v>
                </c:pt>
                <c:pt idx="9">
                  <c:v>8.478815678839398</c:v>
                </c:pt>
                <c:pt idx="10">
                  <c:v>5.8349379412396534</c:v>
                </c:pt>
                <c:pt idx="11">
                  <c:v>3.6502630795162725</c:v>
                </c:pt>
                <c:pt idx="12">
                  <c:v>6.2579290803119676</c:v>
                </c:pt>
                <c:pt idx="13">
                  <c:v>3.2891733773855734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16</c15:f>
                <c15:dlblRangeCache>
                  <c:ptCount val="15"/>
                  <c:pt idx="0">
                    <c:v>HMP - Praha</c:v>
                  </c:pt>
                  <c:pt idx="1">
                    <c:v>STC - Mělník</c:v>
                  </c:pt>
                  <c:pt idx="2">
                    <c:v>STC - Nymburk</c:v>
                  </c:pt>
                  <c:pt idx="3">
                    <c:v>STC - Příbram</c:v>
                  </c:pt>
                  <c:pt idx="4">
                    <c:v>JHC - České Budějovice</c:v>
                  </c:pt>
                  <c:pt idx="5">
                    <c:v>JHC - Český Krumlov</c:v>
                  </c:pt>
                  <c:pt idx="6">
                    <c:v>PLK - Klatovy</c:v>
                  </c:pt>
                  <c:pt idx="7">
                    <c:v>LBK - Liberec</c:v>
                  </c:pt>
                  <c:pt idx="8">
                    <c:v>VYS - Havlíčkův Brod</c:v>
                  </c:pt>
                  <c:pt idx="9">
                    <c:v>VYS - Žďár nad Sázavou</c:v>
                  </c:pt>
                  <c:pt idx="10">
                    <c:v>OLO - Šumperk</c:v>
                  </c:pt>
                  <c:pt idx="11">
                    <c:v>ZLK - Zlín</c:v>
                  </c:pt>
                  <c:pt idx="12">
                    <c:v>MSK - Opava</c:v>
                  </c:pt>
                  <c:pt idx="13">
                    <c:v>ČR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2-786F-4B04-9C07-35FD2B4C76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70038783"/>
        <c:axId val="270818111"/>
      </c:scatterChart>
      <c:valAx>
        <c:axId val="770038783"/>
        <c:scaling>
          <c:orientation val="minMax"/>
        </c:scaling>
        <c:delete val="0"/>
        <c:axPos val="b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70818111"/>
        <c:crosses val="autoZero"/>
        <c:crossBetween val="midCat"/>
      </c:valAx>
      <c:valAx>
        <c:axId val="270818111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7003878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7"/>
            <c:marker>
              <c:symbol val="circle"/>
              <c:size val="6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AC6C-4D35-A4E1-B241F080CEB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AC6C-4D35-A4E1-B241F080CEBC}"/>
              </c:ext>
            </c:extLst>
          </c:dPt>
          <c:dPt>
            <c:idx val="13"/>
            <c:marker>
              <c:symbol val="circle"/>
              <c:size val="8"/>
              <c:spPr>
                <a:solidFill>
                  <a:srgbClr val="00B0F0"/>
                </a:solidFill>
                <a:ln w="9525">
                  <a:solidFill>
                    <a:srgbClr val="00B0F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AC6C-4D35-A4E1-B241F080CEBC}"/>
              </c:ext>
            </c:extLst>
          </c:dPt>
          <c:dPt>
            <c:idx val="14"/>
            <c:marker>
              <c:symbol val="circle"/>
              <c:size val="8"/>
              <c:spPr>
                <a:solidFill>
                  <a:srgbClr val="00B0F0"/>
                </a:solidFill>
                <a:ln w="9525">
                  <a:solidFill>
                    <a:srgbClr val="00B0F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AC6C-4D35-A4E1-B241F080CEBC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26DF625D-4F69-4438-B975-F427308C804D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AC6C-4D35-A4E1-B241F080CEB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6B18E82-91C7-41D8-9B06-F71D68693F76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AC6C-4D35-A4E1-B241F080CEB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1172400-58DE-442A-B700-2A96AE6FD682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AC6C-4D35-A4E1-B241F080CEBC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2DF5707-EFD3-40E8-99ED-24EF11A47DA9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AC6C-4D35-A4E1-B241F080CEBC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E79570D5-7338-49A3-8B75-E05DB40AEE77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AC6C-4D35-A4E1-B241F080CEBC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C0E3A45-C76A-4F21-9B8F-2ECF3EF0AF72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AC6C-4D35-A4E1-B241F080CEBC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49C426AD-07CA-4341-8900-41EF58DC52B8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AC6C-4D35-A4E1-B241F080CEBC}"/>
                </c:ext>
              </c:extLst>
            </c:dLbl>
            <c:dLbl>
              <c:idx val="7"/>
              <c:layout>
                <c:manualLayout>
                  <c:x val="1.4598932003276888E-2"/>
                  <c:y val="-1.1357040350303016E-2"/>
                </c:manualLayout>
              </c:layout>
              <c:tx>
                <c:rich>
                  <a:bodyPr/>
                  <a:lstStyle/>
                  <a:p>
                    <a:fld id="{18897033-0FC4-40D3-9710-D009A580A73C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AC6C-4D35-A4E1-B241F080CEBC}"/>
                </c:ext>
              </c:extLst>
            </c:dLbl>
            <c:dLbl>
              <c:idx val="8"/>
              <c:layout>
                <c:manualLayout>
                  <c:x val="-0.21913139925022429"/>
                  <c:y val="-1.104588855988385E-2"/>
                </c:manualLayout>
              </c:layout>
              <c:tx>
                <c:rich>
                  <a:bodyPr/>
                  <a:lstStyle/>
                  <a:p>
                    <a:fld id="{FCEAD2BA-3153-4791-A8A3-31957ACAC877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AC6C-4D35-A4E1-B241F080CEBC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6C337C0D-9193-4EE0-AF69-C50689C99EB9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AC6C-4D35-A4E1-B241F080CEBC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827DFC12-016E-4064-B95D-6C49C252C847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AC6C-4D35-A4E1-B241F080CEBC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519F8FEB-F079-4ED6-A865-CB0295E5E233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AC6C-4D35-A4E1-B241F080CEBC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C900ED28-D59D-4F1B-A637-22E393436AD1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AC6C-4D35-A4E1-B241F080CEBC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9DDC9BF6-0786-46D1-8DD5-D1A55629FE35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AC6C-4D35-A4E1-B241F080CEBC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C6C-4D35-A4E1-B241F080CEBC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C6C-4D35-A4E1-B241F080CEBC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C6C-4D35-A4E1-B241F080CEBC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cs-CZ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C6C-4D35-A4E1-B241F080CE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19</c:f>
              <c:numCache>
                <c:formatCode>[$-10405]#\ ##0.0;\(#\ ##0.0\)</c:formatCode>
                <c:ptCount val="18"/>
                <c:pt idx="0">
                  <c:v>1260.7446422846799</c:v>
                </c:pt>
                <c:pt idx="1">
                  <c:v>1043.75971705747</c:v>
                </c:pt>
                <c:pt idx="2">
                  <c:v>702.19324594490695</c:v>
                </c:pt>
                <c:pt idx="3">
                  <c:v>700.30198896178194</c:v>
                </c:pt>
                <c:pt idx="4">
                  <c:v>669.372641173538</c:v>
                </c:pt>
                <c:pt idx="5">
                  <c:v>680.03913894324796</c:v>
                </c:pt>
                <c:pt idx="6">
                  <c:v>279.41057122650801</c:v>
                </c:pt>
                <c:pt idx="7">
                  <c:v>922.69113498418403</c:v>
                </c:pt>
                <c:pt idx="8">
                  <c:v>961.82302456347998</c:v>
                </c:pt>
                <c:pt idx="9">
                  <c:v>940.30065880397797</c:v>
                </c:pt>
                <c:pt idx="10">
                  <c:v>613.50204639609206</c:v>
                </c:pt>
                <c:pt idx="11">
                  <c:v>1998.25830304484</c:v>
                </c:pt>
                <c:pt idx="12">
                  <c:v>1532.623722102436</c:v>
                </c:pt>
                <c:pt idx="13">
                  <c:v>1025.9137337658969</c:v>
                </c:pt>
              </c:numCache>
            </c:numRef>
          </c:xVal>
          <c:yVal>
            <c:numRef>
              <c:f>Sheet1!$B$2:$B$19</c:f>
              <c:numCache>
                <c:formatCode>[$-10405]#\ ##0.0;\(#\ ##0.0\)</c:formatCode>
                <c:ptCount val="18"/>
                <c:pt idx="0">
                  <c:v>4.4940992473474317</c:v>
                </c:pt>
                <c:pt idx="1">
                  <c:v>6.3643885180066713</c:v>
                </c:pt>
                <c:pt idx="2">
                  <c:v>8.863589359321038</c:v>
                </c:pt>
                <c:pt idx="3">
                  <c:v>5.206706236991038</c:v>
                </c:pt>
                <c:pt idx="4">
                  <c:v>10.172836491960402</c:v>
                </c:pt>
                <c:pt idx="5">
                  <c:v>11.415525113879637</c:v>
                </c:pt>
                <c:pt idx="6">
                  <c:v>5.7968998177524256</c:v>
                </c:pt>
                <c:pt idx="7">
                  <c:v>11.96819878570996</c:v>
                </c:pt>
                <c:pt idx="8">
                  <c:v>4.2277935139834248</c:v>
                </c:pt>
                <c:pt idx="9">
                  <c:v>1.6957631354575589</c:v>
                </c:pt>
                <c:pt idx="10">
                  <c:v>14.170563571062038</c:v>
                </c:pt>
                <c:pt idx="11">
                  <c:v>8.343458466893674</c:v>
                </c:pt>
                <c:pt idx="12">
                  <c:v>7.395734367808072</c:v>
                </c:pt>
                <c:pt idx="13">
                  <c:v>3.8778606580766914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16</c15:f>
                <c15:dlblRangeCache>
                  <c:ptCount val="15"/>
                  <c:pt idx="0">
                    <c:v>HMP - Praha</c:v>
                  </c:pt>
                  <c:pt idx="1">
                    <c:v>STC - Mělník</c:v>
                  </c:pt>
                  <c:pt idx="2">
                    <c:v>STC - Nymburk</c:v>
                  </c:pt>
                  <c:pt idx="3">
                    <c:v>STC - Příbram</c:v>
                  </c:pt>
                  <c:pt idx="4">
                    <c:v>JHC - České Budějovice</c:v>
                  </c:pt>
                  <c:pt idx="5">
                    <c:v>JHC - Český Krumlov</c:v>
                  </c:pt>
                  <c:pt idx="6">
                    <c:v>PLK - Klatovy</c:v>
                  </c:pt>
                  <c:pt idx="7">
                    <c:v>LBK - Liberec</c:v>
                  </c:pt>
                  <c:pt idx="8">
                    <c:v>VYS - Havlíčkův Brod</c:v>
                  </c:pt>
                  <c:pt idx="9">
                    <c:v>VYS - Žďár nad Sázavou</c:v>
                  </c:pt>
                  <c:pt idx="10">
                    <c:v>OLO - Šumperk</c:v>
                  </c:pt>
                  <c:pt idx="11">
                    <c:v>ZLK - Zlín</c:v>
                  </c:pt>
                  <c:pt idx="12">
                    <c:v>MSK - Opava</c:v>
                  </c:pt>
                  <c:pt idx="13">
                    <c:v>ČR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2-AC6C-4D35-A4E1-B241F080CE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70038783"/>
        <c:axId val="270818111"/>
      </c:scatterChart>
      <c:valAx>
        <c:axId val="770038783"/>
        <c:scaling>
          <c:orientation val="minMax"/>
        </c:scaling>
        <c:delete val="0"/>
        <c:axPos val="b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70818111"/>
        <c:crosses val="autoZero"/>
        <c:crossBetween val="midCat"/>
      </c:valAx>
      <c:valAx>
        <c:axId val="270818111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7003878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5098508700484945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70–79</c:v>
                </c:pt>
              </c:strCache>
            </c:strRef>
          </c:tx>
          <c:spPr>
            <a:ln w="28575" cap="rnd">
              <a:solidFill>
                <a:srgbClr val="FF6600"/>
              </a:solidFill>
              <a:round/>
            </a:ln>
            <a:effectLst/>
          </c:spPr>
          <c:marker>
            <c:symbol val="none"/>
          </c:marker>
          <c:cat>
            <c:strRef>
              <c:f>List1!$B$1:$FU$1</c:f>
              <c:strCache>
                <c:ptCount val="176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</c:strCache>
            </c:strRef>
          </c:cat>
          <c:val>
            <c:numRef>
              <c:f>List1!$B$2:$FU$2</c:f>
              <c:numCache>
                <c:formatCode>General</c:formatCode>
                <c:ptCount val="176"/>
                <c:pt idx="0">
                  <c:v>67</c:v>
                </c:pt>
                <c:pt idx="1">
                  <c:v>173</c:v>
                </c:pt>
                <c:pt idx="2">
                  <c:v>329</c:v>
                </c:pt>
                <c:pt idx="3">
                  <c:v>486</c:v>
                </c:pt>
                <c:pt idx="4">
                  <c:v>597</c:v>
                </c:pt>
                <c:pt idx="5">
                  <c:v>605</c:v>
                </c:pt>
                <c:pt idx="6">
                  <c:v>645</c:v>
                </c:pt>
                <c:pt idx="7">
                  <c:v>674</c:v>
                </c:pt>
                <c:pt idx="8">
                  <c:v>805</c:v>
                </c:pt>
                <c:pt idx="9">
                  <c:v>954</c:v>
                </c:pt>
                <c:pt idx="10">
                  <c:v>1191</c:v>
                </c:pt>
                <c:pt idx="11">
                  <c:v>1644</c:v>
                </c:pt>
                <c:pt idx="12">
                  <c:v>2151</c:v>
                </c:pt>
                <c:pt idx="13">
                  <c:v>2330</c:v>
                </c:pt>
                <c:pt idx="14">
                  <c:v>2481</c:v>
                </c:pt>
                <c:pt idx="15">
                  <c:v>2939</c:v>
                </c:pt>
                <c:pt idx="16">
                  <c:v>3839</c:v>
                </c:pt>
                <c:pt idx="17">
                  <c:v>5040</c:v>
                </c:pt>
                <c:pt idx="18">
                  <c:v>6458</c:v>
                </c:pt>
                <c:pt idx="19">
                  <c:v>7692</c:v>
                </c:pt>
                <c:pt idx="20">
                  <c:v>8045</c:v>
                </c:pt>
                <c:pt idx="21">
                  <c:v>8271</c:v>
                </c:pt>
                <c:pt idx="22">
                  <c:v>9267</c:v>
                </c:pt>
                <c:pt idx="23">
                  <c:v>10253</c:v>
                </c:pt>
                <c:pt idx="24">
                  <c:v>11373</c:v>
                </c:pt>
                <c:pt idx="25">
                  <c:v>12521</c:v>
                </c:pt>
                <c:pt idx="26">
                  <c:v>13384</c:v>
                </c:pt>
                <c:pt idx="27">
                  <c:v>13595</c:v>
                </c:pt>
                <c:pt idx="28">
                  <c:v>13727</c:v>
                </c:pt>
                <c:pt idx="29">
                  <c:v>14258</c:v>
                </c:pt>
                <c:pt idx="30">
                  <c:v>14896</c:v>
                </c:pt>
                <c:pt idx="31">
                  <c:v>15478</c:v>
                </c:pt>
                <c:pt idx="32">
                  <c:v>16083</c:v>
                </c:pt>
                <c:pt idx="33">
                  <c:v>16726</c:v>
                </c:pt>
                <c:pt idx="34">
                  <c:v>16859</c:v>
                </c:pt>
                <c:pt idx="35">
                  <c:v>17006</c:v>
                </c:pt>
                <c:pt idx="36">
                  <c:v>17627</c:v>
                </c:pt>
                <c:pt idx="37">
                  <c:v>18481</c:v>
                </c:pt>
                <c:pt idx="38">
                  <c:v>19621</c:v>
                </c:pt>
                <c:pt idx="39">
                  <c:v>20951</c:v>
                </c:pt>
                <c:pt idx="40">
                  <c:v>22095</c:v>
                </c:pt>
                <c:pt idx="41">
                  <c:v>22253</c:v>
                </c:pt>
                <c:pt idx="42">
                  <c:v>22420</c:v>
                </c:pt>
                <c:pt idx="43">
                  <c:v>23366</c:v>
                </c:pt>
                <c:pt idx="44">
                  <c:v>24495</c:v>
                </c:pt>
                <c:pt idx="45">
                  <c:v>25807</c:v>
                </c:pt>
                <c:pt idx="46">
                  <c:v>27521</c:v>
                </c:pt>
                <c:pt idx="47">
                  <c:v>28986</c:v>
                </c:pt>
                <c:pt idx="48">
                  <c:v>29329</c:v>
                </c:pt>
                <c:pt idx="49">
                  <c:v>29415</c:v>
                </c:pt>
                <c:pt idx="50">
                  <c:v>30363</c:v>
                </c:pt>
                <c:pt idx="51">
                  <c:v>31574</c:v>
                </c:pt>
                <c:pt idx="52">
                  <c:v>32859</c:v>
                </c:pt>
                <c:pt idx="53">
                  <c:v>34214</c:v>
                </c:pt>
                <c:pt idx="54">
                  <c:v>35488</c:v>
                </c:pt>
                <c:pt idx="55">
                  <c:v>35624</c:v>
                </c:pt>
                <c:pt idx="56">
                  <c:v>35687</c:v>
                </c:pt>
                <c:pt idx="57">
                  <c:v>36553</c:v>
                </c:pt>
                <c:pt idx="58">
                  <c:v>37592</c:v>
                </c:pt>
                <c:pt idx="59">
                  <c:v>38987</c:v>
                </c:pt>
                <c:pt idx="60">
                  <c:v>40649</c:v>
                </c:pt>
                <c:pt idx="61">
                  <c:v>42604</c:v>
                </c:pt>
                <c:pt idx="62">
                  <c:v>42924</c:v>
                </c:pt>
                <c:pt idx="63">
                  <c:v>43065</c:v>
                </c:pt>
                <c:pt idx="64">
                  <c:v>45725</c:v>
                </c:pt>
                <c:pt idx="65">
                  <c:v>51068</c:v>
                </c:pt>
                <c:pt idx="66">
                  <c:v>60244</c:v>
                </c:pt>
                <c:pt idx="67">
                  <c:v>72541</c:v>
                </c:pt>
                <c:pt idx="68">
                  <c:v>84480</c:v>
                </c:pt>
                <c:pt idx="69">
                  <c:v>89452</c:v>
                </c:pt>
                <c:pt idx="70">
                  <c:v>94086</c:v>
                </c:pt>
                <c:pt idx="71">
                  <c:v>108103</c:v>
                </c:pt>
                <c:pt idx="72">
                  <c:v>125567</c:v>
                </c:pt>
                <c:pt idx="73">
                  <c:v>148250</c:v>
                </c:pt>
                <c:pt idx="74">
                  <c:v>173205</c:v>
                </c:pt>
                <c:pt idx="75">
                  <c:v>195629</c:v>
                </c:pt>
                <c:pt idx="76">
                  <c:v>206098</c:v>
                </c:pt>
                <c:pt idx="77">
                  <c:v>213743</c:v>
                </c:pt>
                <c:pt idx="78">
                  <c:v>231619</c:v>
                </c:pt>
                <c:pt idx="79">
                  <c:v>254487</c:v>
                </c:pt>
                <c:pt idx="80">
                  <c:v>277805</c:v>
                </c:pt>
                <c:pt idx="81">
                  <c:v>301578</c:v>
                </c:pt>
                <c:pt idx="82">
                  <c:v>321419</c:v>
                </c:pt>
                <c:pt idx="83">
                  <c:v>330707</c:v>
                </c:pt>
                <c:pt idx="84">
                  <c:v>335567</c:v>
                </c:pt>
                <c:pt idx="85">
                  <c:v>351355</c:v>
                </c:pt>
                <c:pt idx="86">
                  <c:v>368957</c:v>
                </c:pt>
                <c:pt idx="87">
                  <c:v>387780</c:v>
                </c:pt>
                <c:pt idx="88">
                  <c:v>406323</c:v>
                </c:pt>
                <c:pt idx="89">
                  <c:v>422688</c:v>
                </c:pt>
                <c:pt idx="90">
                  <c:v>429757</c:v>
                </c:pt>
                <c:pt idx="91">
                  <c:v>433974</c:v>
                </c:pt>
                <c:pt idx="92">
                  <c:v>450978</c:v>
                </c:pt>
                <c:pt idx="93">
                  <c:v>472003</c:v>
                </c:pt>
                <c:pt idx="94">
                  <c:v>495558</c:v>
                </c:pt>
                <c:pt idx="95">
                  <c:v>523418</c:v>
                </c:pt>
                <c:pt idx="96">
                  <c:v>533804</c:v>
                </c:pt>
                <c:pt idx="97">
                  <c:v>541242</c:v>
                </c:pt>
                <c:pt idx="98">
                  <c:v>547068</c:v>
                </c:pt>
                <c:pt idx="99">
                  <c:v>552260</c:v>
                </c:pt>
                <c:pt idx="100">
                  <c:v>575288</c:v>
                </c:pt>
                <c:pt idx="101">
                  <c:v>598802</c:v>
                </c:pt>
                <c:pt idx="102">
                  <c:v>637755</c:v>
                </c:pt>
                <c:pt idx="103">
                  <c:v>673317</c:v>
                </c:pt>
                <c:pt idx="104">
                  <c:v>690590</c:v>
                </c:pt>
                <c:pt idx="105">
                  <c:v>702627</c:v>
                </c:pt>
                <c:pt idx="106">
                  <c:v>738338</c:v>
                </c:pt>
                <c:pt idx="107">
                  <c:v>771506</c:v>
                </c:pt>
                <c:pt idx="108">
                  <c:v>807872</c:v>
                </c:pt>
                <c:pt idx="109">
                  <c:v>843696</c:v>
                </c:pt>
                <c:pt idx="110">
                  <c:v>871908</c:v>
                </c:pt>
                <c:pt idx="111">
                  <c:v>881659</c:v>
                </c:pt>
                <c:pt idx="112">
                  <c:v>889411</c:v>
                </c:pt>
                <c:pt idx="113">
                  <c:v>910162</c:v>
                </c:pt>
                <c:pt idx="114">
                  <c:v>930124</c:v>
                </c:pt>
                <c:pt idx="115">
                  <c:v>947538</c:v>
                </c:pt>
                <c:pt idx="116">
                  <c:v>967329</c:v>
                </c:pt>
                <c:pt idx="117">
                  <c:v>981567</c:v>
                </c:pt>
                <c:pt idx="118">
                  <c:v>987651</c:v>
                </c:pt>
                <c:pt idx="119">
                  <c:v>991633</c:v>
                </c:pt>
                <c:pt idx="120">
                  <c:v>1002601</c:v>
                </c:pt>
                <c:pt idx="121">
                  <c:v>1015545</c:v>
                </c:pt>
                <c:pt idx="122">
                  <c:v>1029393</c:v>
                </c:pt>
                <c:pt idx="123">
                  <c:v>1044037</c:v>
                </c:pt>
                <c:pt idx="124">
                  <c:v>1053896</c:v>
                </c:pt>
                <c:pt idx="125">
                  <c:v>1057456</c:v>
                </c:pt>
                <c:pt idx="126">
                  <c:v>1060033</c:v>
                </c:pt>
                <c:pt idx="127">
                  <c:v>1067683</c:v>
                </c:pt>
                <c:pt idx="128">
                  <c:v>1077412</c:v>
                </c:pt>
                <c:pt idx="129">
                  <c:v>1087826</c:v>
                </c:pt>
                <c:pt idx="130">
                  <c:v>1098832</c:v>
                </c:pt>
                <c:pt idx="131">
                  <c:v>1107178</c:v>
                </c:pt>
                <c:pt idx="132">
                  <c:v>1109650</c:v>
                </c:pt>
                <c:pt idx="133">
                  <c:v>1111407</c:v>
                </c:pt>
                <c:pt idx="134">
                  <c:v>1118291</c:v>
                </c:pt>
                <c:pt idx="135">
                  <c:v>1126654</c:v>
                </c:pt>
                <c:pt idx="136">
                  <c:v>1134597</c:v>
                </c:pt>
                <c:pt idx="137">
                  <c:v>1142467</c:v>
                </c:pt>
                <c:pt idx="138">
                  <c:v>1147704</c:v>
                </c:pt>
                <c:pt idx="139">
                  <c:v>1149534</c:v>
                </c:pt>
                <c:pt idx="140">
                  <c:v>1150901</c:v>
                </c:pt>
                <c:pt idx="141">
                  <c:v>1155750</c:v>
                </c:pt>
                <c:pt idx="142">
                  <c:v>1164457</c:v>
                </c:pt>
                <c:pt idx="143">
                  <c:v>1173302</c:v>
                </c:pt>
                <c:pt idx="144">
                  <c:v>1189065</c:v>
                </c:pt>
                <c:pt idx="145">
                  <c:v>1203142</c:v>
                </c:pt>
                <c:pt idx="146">
                  <c:v>1209240</c:v>
                </c:pt>
                <c:pt idx="147">
                  <c:v>1214632</c:v>
                </c:pt>
                <c:pt idx="148">
                  <c:v>1231776</c:v>
                </c:pt>
                <c:pt idx="149">
                  <c:v>1248386</c:v>
                </c:pt>
                <c:pt idx="150">
                  <c:v>1267578</c:v>
                </c:pt>
                <c:pt idx="151">
                  <c:v>1288128</c:v>
                </c:pt>
                <c:pt idx="152">
                  <c:v>1305786</c:v>
                </c:pt>
                <c:pt idx="153">
                  <c:v>1311595</c:v>
                </c:pt>
                <c:pt idx="154">
                  <c:v>1317245</c:v>
                </c:pt>
                <c:pt idx="155">
                  <c:v>1332406</c:v>
                </c:pt>
                <c:pt idx="156">
                  <c:v>1348119</c:v>
                </c:pt>
                <c:pt idx="157">
                  <c:v>1363751</c:v>
                </c:pt>
                <c:pt idx="158">
                  <c:v>1380553</c:v>
                </c:pt>
                <c:pt idx="159">
                  <c:v>1394688</c:v>
                </c:pt>
                <c:pt idx="160">
                  <c:v>1399186</c:v>
                </c:pt>
                <c:pt idx="161">
                  <c:v>1402047</c:v>
                </c:pt>
                <c:pt idx="162">
                  <c:v>1414267</c:v>
                </c:pt>
                <c:pt idx="163">
                  <c:v>1427304</c:v>
                </c:pt>
                <c:pt idx="164">
                  <c:v>1440493</c:v>
                </c:pt>
                <c:pt idx="165">
                  <c:v>1454139</c:v>
                </c:pt>
                <c:pt idx="166">
                  <c:v>1465207</c:v>
                </c:pt>
                <c:pt idx="167">
                  <c:v>1468280</c:v>
                </c:pt>
                <c:pt idx="168">
                  <c:v>1469990</c:v>
                </c:pt>
                <c:pt idx="169">
                  <c:v>1480383</c:v>
                </c:pt>
                <c:pt idx="170">
                  <c:v>1491793</c:v>
                </c:pt>
                <c:pt idx="171">
                  <c:v>1502833</c:v>
                </c:pt>
                <c:pt idx="172">
                  <c:v>1513461</c:v>
                </c:pt>
                <c:pt idx="173">
                  <c:v>1521213</c:v>
                </c:pt>
                <c:pt idx="174">
                  <c:v>1523470</c:v>
                </c:pt>
                <c:pt idx="175">
                  <c:v>15249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65–69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FU$1</c:f>
              <c:strCache>
                <c:ptCount val="176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</c:strCache>
            </c:strRef>
          </c:cat>
          <c:val>
            <c:numRef>
              <c:f>List1!$B$3:$FU$3</c:f>
              <c:numCache>
                <c:formatCode>General</c:formatCode>
                <c:ptCount val="176"/>
                <c:pt idx="0">
                  <c:v>82</c:v>
                </c:pt>
                <c:pt idx="1">
                  <c:v>216</c:v>
                </c:pt>
                <c:pt idx="2">
                  <c:v>393</c:v>
                </c:pt>
                <c:pt idx="3">
                  <c:v>557</c:v>
                </c:pt>
                <c:pt idx="4">
                  <c:v>618</c:v>
                </c:pt>
                <c:pt idx="5">
                  <c:v>630</c:v>
                </c:pt>
                <c:pt idx="6">
                  <c:v>680</c:v>
                </c:pt>
                <c:pt idx="7">
                  <c:v>722</c:v>
                </c:pt>
                <c:pt idx="8">
                  <c:v>916</c:v>
                </c:pt>
                <c:pt idx="9">
                  <c:v>1141</c:v>
                </c:pt>
                <c:pt idx="10">
                  <c:v>1425</c:v>
                </c:pt>
                <c:pt idx="11">
                  <c:v>1798</c:v>
                </c:pt>
                <c:pt idx="12">
                  <c:v>2248</c:v>
                </c:pt>
                <c:pt idx="13">
                  <c:v>2395</c:v>
                </c:pt>
                <c:pt idx="14">
                  <c:v>2526</c:v>
                </c:pt>
                <c:pt idx="15">
                  <c:v>2989</c:v>
                </c:pt>
                <c:pt idx="16">
                  <c:v>3696</c:v>
                </c:pt>
                <c:pt idx="17">
                  <c:v>4451</c:v>
                </c:pt>
                <c:pt idx="18">
                  <c:v>5329</c:v>
                </c:pt>
                <c:pt idx="19">
                  <c:v>6144</c:v>
                </c:pt>
                <c:pt idx="20">
                  <c:v>6310</c:v>
                </c:pt>
                <c:pt idx="21">
                  <c:v>6422</c:v>
                </c:pt>
                <c:pt idx="22">
                  <c:v>7137</c:v>
                </c:pt>
                <c:pt idx="23">
                  <c:v>7870</c:v>
                </c:pt>
                <c:pt idx="24">
                  <c:v>8566</c:v>
                </c:pt>
                <c:pt idx="25">
                  <c:v>9218</c:v>
                </c:pt>
                <c:pt idx="26">
                  <c:v>9693</c:v>
                </c:pt>
                <c:pt idx="27">
                  <c:v>9794</c:v>
                </c:pt>
                <c:pt idx="28">
                  <c:v>9882</c:v>
                </c:pt>
                <c:pt idx="29">
                  <c:v>10309</c:v>
                </c:pt>
                <c:pt idx="30">
                  <c:v>10883</c:v>
                </c:pt>
                <c:pt idx="31">
                  <c:v>11321</c:v>
                </c:pt>
                <c:pt idx="32">
                  <c:v>11783</c:v>
                </c:pt>
                <c:pt idx="33">
                  <c:v>12317</c:v>
                </c:pt>
                <c:pt idx="34">
                  <c:v>12435</c:v>
                </c:pt>
                <c:pt idx="35">
                  <c:v>12545</c:v>
                </c:pt>
                <c:pt idx="36">
                  <c:v>13071</c:v>
                </c:pt>
                <c:pt idx="37">
                  <c:v>13749</c:v>
                </c:pt>
                <c:pt idx="38">
                  <c:v>14509</c:v>
                </c:pt>
                <c:pt idx="39">
                  <c:v>15389</c:v>
                </c:pt>
                <c:pt idx="40">
                  <c:v>16169</c:v>
                </c:pt>
                <c:pt idx="41">
                  <c:v>16286</c:v>
                </c:pt>
                <c:pt idx="42">
                  <c:v>16375</c:v>
                </c:pt>
                <c:pt idx="43">
                  <c:v>17013</c:v>
                </c:pt>
                <c:pt idx="44">
                  <c:v>17724</c:v>
                </c:pt>
                <c:pt idx="45">
                  <c:v>18443</c:v>
                </c:pt>
                <c:pt idx="46">
                  <c:v>19340</c:v>
                </c:pt>
                <c:pt idx="47">
                  <c:v>20129</c:v>
                </c:pt>
                <c:pt idx="48">
                  <c:v>20263</c:v>
                </c:pt>
                <c:pt idx="49">
                  <c:v>20327</c:v>
                </c:pt>
                <c:pt idx="50">
                  <c:v>20835</c:v>
                </c:pt>
                <c:pt idx="51">
                  <c:v>21427</c:v>
                </c:pt>
                <c:pt idx="52">
                  <c:v>22024</c:v>
                </c:pt>
                <c:pt idx="53">
                  <c:v>22805</c:v>
                </c:pt>
                <c:pt idx="54">
                  <c:v>23419</c:v>
                </c:pt>
                <c:pt idx="55">
                  <c:v>23500</c:v>
                </c:pt>
                <c:pt idx="56">
                  <c:v>23534</c:v>
                </c:pt>
                <c:pt idx="57">
                  <c:v>23994</c:v>
                </c:pt>
                <c:pt idx="58">
                  <c:v>24633</c:v>
                </c:pt>
                <c:pt idx="59">
                  <c:v>25343</c:v>
                </c:pt>
                <c:pt idx="60">
                  <c:v>26128</c:v>
                </c:pt>
                <c:pt idx="61">
                  <c:v>26941</c:v>
                </c:pt>
                <c:pt idx="62">
                  <c:v>27019</c:v>
                </c:pt>
                <c:pt idx="63">
                  <c:v>27089</c:v>
                </c:pt>
                <c:pt idx="64">
                  <c:v>28131</c:v>
                </c:pt>
                <c:pt idx="65">
                  <c:v>29676</c:v>
                </c:pt>
                <c:pt idx="66">
                  <c:v>31321</c:v>
                </c:pt>
                <c:pt idx="67">
                  <c:v>33074</c:v>
                </c:pt>
                <c:pt idx="68">
                  <c:v>34488</c:v>
                </c:pt>
                <c:pt idx="69">
                  <c:v>35068</c:v>
                </c:pt>
                <c:pt idx="70">
                  <c:v>35716</c:v>
                </c:pt>
                <c:pt idx="71">
                  <c:v>36889</c:v>
                </c:pt>
                <c:pt idx="72">
                  <c:v>38293</c:v>
                </c:pt>
                <c:pt idx="73">
                  <c:v>39794</c:v>
                </c:pt>
                <c:pt idx="74">
                  <c:v>41621</c:v>
                </c:pt>
                <c:pt idx="75">
                  <c:v>43482</c:v>
                </c:pt>
                <c:pt idx="76">
                  <c:v>43946</c:v>
                </c:pt>
                <c:pt idx="77">
                  <c:v>44269</c:v>
                </c:pt>
                <c:pt idx="78">
                  <c:v>45599</c:v>
                </c:pt>
                <c:pt idx="79">
                  <c:v>47359</c:v>
                </c:pt>
                <c:pt idx="80">
                  <c:v>49102</c:v>
                </c:pt>
                <c:pt idx="81">
                  <c:v>50932</c:v>
                </c:pt>
                <c:pt idx="82">
                  <c:v>52986</c:v>
                </c:pt>
                <c:pt idx="83">
                  <c:v>53447</c:v>
                </c:pt>
                <c:pt idx="84">
                  <c:v>53629</c:v>
                </c:pt>
                <c:pt idx="85">
                  <c:v>55348</c:v>
                </c:pt>
                <c:pt idx="86">
                  <c:v>57297</c:v>
                </c:pt>
                <c:pt idx="87">
                  <c:v>59667</c:v>
                </c:pt>
                <c:pt idx="88">
                  <c:v>61990</c:v>
                </c:pt>
                <c:pt idx="89">
                  <c:v>64435</c:v>
                </c:pt>
                <c:pt idx="90">
                  <c:v>65008</c:v>
                </c:pt>
                <c:pt idx="91">
                  <c:v>65653</c:v>
                </c:pt>
                <c:pt idx="92">
                  <c:v>68303</c:v>
                </c:pt>
                <c:pt idx="93">
                  <c:v>71222</c:v>
                </c:pt>
                <c:pt idx="94">
                  <c:v>74211</c:v>
                </c:pt>
                <c:pt idx="95">
                  <c:v>77654</c:v>
                </c:pt>
                <c:pt idx="96">
                  <c:v>78670</c:v>
                </c:pt>
                <c:pt idx="97">
                  <c:v>79312</c:v>
                </c:pt>
                <c:pt idx="98">
                  <c:v>79728</c:v>
                </c:pt>
                <c:pt idx="99">
                  <c:v>80098</c:v>
                </c:pt>
                <c:pt idx="100">
                  <c:v>82467</c:v>
                </c:pt>
                <c:pt idx="101">
                  <c:v>85377</c:v>
                </c:pt>
                <c:pt idx="102">
                  <c:v>89934</c:v>
                </c:pt>
                <c:pt idx="103">
                  <c:v>94816</c:v>
                </c:pt>
                <c:pt idx="104">
                  <c:v>96691</c:v>
                </c:pt>
                <c:pt idx="105">
                  <c:v>97729</c:v>
                </c:pt>
                <c:pt idx="106">
                  <c:v>103110</c:v>
                </c:pt>
                <c:pt idx="107">
                  <c:v>108491</c:v>
                </c:pt>
                <c:pt idx="108">
                  <c:v>115370</c:v>
                </c:pt>
                <c:pt idx="109">
                  <c:v>126002</c:v>
                </c:pt>
                <c:pt idx="110">
                  <c:v>135639</c:v>
                </c:pt>
                <c:pt idx="111">
                  <c:v>140122</c:v>
                </c:pt>
                <c:pt idx="112">
                  <c:v>142870</c:v>
                </c:pt>
                <c:pt idx="113">
                  <c:v>158410</c:v>
                </c:pt>
                <c:pt idx="114">
                  <c:v>174436</c:v>
                </c:pt>
                <c:pt idx="115">
                  <c:v>196314</c:v>
                </c:pt>
                <c:pt idx="116">
                  <c:v>222050</c:v>
                </c:pt>
                <c:pt idx="117">
                  <c:v>242113</c:v>
                </c:pt>
                <c:pt idx="118">
                  <c:v>250262</c:v>
                </c:pt>
                <c:pt idx="119">
                  <c:v>256667</c:v>
                </c:pt>
                <c:pt idx="120">
                  <c:v>280163</c:v>
                </c:pt>
                <c:pt idx="121">
                  <c:v>300804</c:v>
                </c:pt>
                <c:pt idx="122">
                  <c:v>324517</c:v>
                </c:pt>
                <c:pt idx="123">
                  <c:v>345620</c:v>
                </c:pt>
                <c:pt idx="124">
                  <c:v>361450</c:v>
                </c:pt>
                <c:pt idx="125">
                  <c:v>365251</c:v>
                </c:pt>
                <c:pt idx="126">
                  <c:v>369999</c:v>
                </c:pt>
                <c:pt idx="127">
                  <c:v>383111</c:v>
                </c:pt>
                <c:pt idx="128">
                  <c:v>395800</c:v>
                </c:pt>
                <c:pt idx="129">
                  <c:v>408526</c:v>
                </c:pt>
                <c:pt idx="130">
                  <c:v>421274</c:v>
                </c:pt>
                <c:pt idx="131">
                  <c:v>431214</c:v>
                </c:pt>
                <c:pt idx="132">
                  <c:v>434709</c:v>
                </c:pt>
                <c:pt idx="133">
                  <c:v>437341</c:v>
                </c:pt>
                <c:pt idx="134">
                  <c:v>445688</c:v>
                </c:pt>
                <c:pt idx="135">
                  <c:v>454988</c:v>
                </c:pt>
                <c:pt idx="136">
                  <c:v>463452</c:v>
                </c:pt>
                <c:pt idx="137">
                  <c:v>471244</c:v>
                </c:pt>
                <c:pt idx="138">
                  <c:v>476945</c:v>
                </c:pt>
                <c:pt idx="139">
                  <c:v>479290</c:v>
                </c:pt>
                <c:pt idx="140">
                  <c:v>481079</c:v>
                </c:pt>
                <c:pt idx="141">
                  <c:v>486553</c:v>
                </c:pt>
                <c:pt idx="142">
                  <c:v>492492</c:v>
                </c:pt>
                <c:pt idx="143">
                  <c:v>498631</c:v>
                </c:pt>
                <c:pt idx="144">
                  <c:v>505606</c:v>
                </c:pt>
                <c:pt idx="145">
                  <c:v>511175</c:v>
                </c:pt>
                <c:pt idx="146">
                  <c:v>513709</c:v>
                </c:pt>
                <c:pt idx="147">
                  <c:v>515606</c:v>
                </c:pt>
                <c:pt idx="148">
                  <c:v>521766</c:v>
                </c:pt>
                <c:pt idx="149">
                  <c:v>527977</c:v>
                </c:pt>
                <c:pt idx="150">
                  <c:v>535241</c:v>
                </c:pt>
                <c:pt idx="151">
                  <c:v>545849</c:v>
                </c:pt>
                <c:pt idx="152">
                  <c:v>554738</c:v>
                </c:pt>
                <c:pt idx="153">
                  <c:v>559557</c:v>
                </c:pt>
                <c:pt idx="154">
                  <c:v>562639</c:v>
                </c:pt>
                <c:pt idx="155">
                  <c:v>577715</c:v>
                </c:pt>
                <c:pt idx="156">
                  <c:v>593418</c:v>
                </c:pt>
                <c:pt idx="157">
                  <c:v>614783</c:v>
                </c:pt>
                <c:pt idx="158">
                  <c:v>639462</c:v>
                </c:pt>
                <c:pt idx="159">
                  <c:v>658965</c:v>
                </c:pt>
                <c:pt idx="160">
                  <c:v>667594</c:v>
                </c:pt>
                <c:pt idx="161">
                  <c:v>673963</c:v>
                </c:pt>
                <c:pt idx="162">
                  <c:v>697426</c:v>
                </c:pt>
                <c:pt idx="163">
                  <c:v>717909</c:v>
                </c:pt>
                <c:pt idx="164">
                  <c:v>740834</c:v>
                </c:pt>
                <c:pt idx="165">
                  <c:v>760932</c:v>
                </c:pt>
                <c:pt idx="166">
                  <c:v>776738</c:v>
                </c:pt>
                <c:pt idx="167">
                  <c:v>781012</c:v>
                </c:pt>
                <c:pt idx="168">
                  <c:v>785656</c:v>
                </c:pt>
                <c:pt idx="169">
                  <c:v>799532</c:v>
                </c:pt>
                <c:pt idx="170">
                  <c:v>812746</c:v>
                </c:pt>
                <c:pt idx="171">
                  <c:v>825652</c:v>
                </c:pt>
                <c:pt idx="172">
                  <c:v>837940</c:v>
                </c:pt>
                <c:pt idx="173">
                  <c:v>847566</c:v>
                </c:pt>
                <c:pt idx="174">
                  <c:v>851057</c:v>
                </c:pt>
                <c:pt idx="175">
                  <c:v>8535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60–64</c:v>
                </c:pt>
              </c:strCache>
            </c:strRef>
          </c:tx>
          <c:spPr>
            <a:ln w="28575" cap="rnd">
              <a:solidFill>
                <a:srgbClr val="FFCC99"/>
              </a:solidFill>
              <a:round/>
            </a:ln>
            <a:effectLst/>
          </c:spPr>
          <c:marker>
            <c:symbol val="none"/>
          </c:marker>
          <c:cat>
            <c:strRef>
              <c:f>List1!$B$1:$FU$1</c:f>
              <c:strCache>
                <c:ptCount val="176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</c:strCache>
            </c:strRef>
          </c:cat>
          <c:val>
            <c:numRef>
              <c:f>List1!$B$4:$FU$4</c:f>
              <c:numCache>
                <c:formatCode>General</c:formatCode>
                <c:ptCount val="176"/>
                <c:pt idx="0">
                  <c:v>96</c:v>
                </c:pt>
                <c:pt idx="1">
                  <c:v>279</c:v>
                </c:pt>
                <c:pt idx="2">
                  <c:v>527</c:v>
                </c:pt>
                <c:pt idx="3">
                  <c:v>822</c:v>
                </c:pt>
                <c:pt idx="4">
                  <c:v>907</c:v>
                </c:pt>
                <c:pt idx="5">
                  <c:v>930</c:v>
                </c:pt>
                <c:pt idx="6">
                  <c:v>1037</c:v>
                </c:pt>
                <c:pt idx="7">
                  <c:v>1100</c:v>
                </c:pt>
                <c:pt idx="8">
                  <c:v>1390</c:v>
                </c:pt>
                <c:pt idx="9">
                  <c:v>1728</c:v>
                </c:pt>
                <c:pt idx="10">
                  <c:v>2190</c:v>
                </c:pt>
                <c:pt idx="11">
                  <c:v>2858</c:v>
                </c:pt>
                <c:pt idx="12">
                  <c:v>3607</c:v>
                </c:pt>
                <c:pt idx="13">
                  <c:v>3787</c:v>
                </c:pt>
                <c:pt idx="14">
                  <c:v>3929</c:v>
                </c:pt>
                <c:pt idx="15">
                  <c:v>4723</c:v>
                </c:pt>
                <c:pt idx="16">
                  <c:v>5745</c:v>
                </c:pt>
                <c:pt idx="17">
                  <c:v>6716</c:v>
                </c:pt>
                <c:pt idx="18">
                  <c:v>7841</c:v>
                </c:pt>
                <c:pt idx="19">
                  <c:v>8957</c:v>
                </c:pt>
                <c:pt idx="20">
                  <c:v>9139</c:v>
                </c:pt>
                <c:pt idx="21">
                  <c:v>9279</c:v>
                </c:pt>
                <c:pt idx="22">
                  <c:v>10184</c:v>
                </c:pt>
                <c:pt idx="23">
                  <c:v>11086</c:v>
                </c:pt>
                <c:pt idx="24">
                  <c:v>12054</c:v>
                </c:pt>
                <c:pt idx="25">
                  <c:v>12840</c:v>
                </c:pt>
                <c:pt idx="26">
                  <c:v>13408</c:v>
                </c:pt>
                <c:pt idx="27">
                  <c:v>13561</c:v>
                </c:pt>
                <c:pt idx="28">
                  <c:v>13661</c:v>
                </c:pt>
                <c:pt idx="29">
                  <c:v>14201</c:v>
                </c:pt>
                <c:pt idx="30">
                  <c:v>14907</c:v>
                </c:pt>
                <c:pt idx="31">
                  <c:v>15586</c:v>
                </c:pt>
                <c:pt idx="32">
                  <c:v>16360</c:v>
                </c:pt>
                <c:pt idx="33">
                  <c:v>17223</c:v>
                </c:pt>
                <c:pt idx="34">
                  <c:v>17340</c:v>
                </c:pt>
                <c:pt idx="35">
                  <c:v>17446</c:v>
                </c:pt>
                <c:pt idx="36">
                  <c:v>18225</c:v>
                </c:pt>
                <c:pt idx="37">
                  <c:v>19182</c:v>
                </c:pt>
                <c:pt idx="38">
                  <c:v>20147</c:v>
                </c:pt>
                <c:pt idx="39">
                  <c:v>21247</c:v>
                </c:pt>
                <c:pt idx="40">
                  <c:v>22339</c:v>
                </c:pt>
                <c:pt idx="41">
                  <c:v>22480</c:v>
                </c:pt>
                <c:pt idx="42">
                  <c:v>22579</c:v>
                </c:pt>
                <c:pt idx="43">
                  <c:v>23475</c:v>
                </c:pt>
                <c:pt idx="44">
                  <c:v>24319</c:v>
                </c:pt>
                <c:pt idx="45">
                  <c:v>25271</c:v>
                </c:pt>
                <c:pt idx="46">
                  <c:v>26330</c:v>
                </c:pt>
                <c:pt idx="47">
                  <c:v>27214</c:v>
                </c:pt>
                <c:pt idx="48">
                  <c:v>27358</c:v>
                </c:pt>
                <c:pt idx="49">
                  <c:v>27414</c:v>
                </c:pt>
                <c:pt idx="50">
                  <c:v>28007</c:v>
                </c:pt>
                <c:pt idx="51">
                  <c:v>28622</c:v>
                </c:pt>
                <c:pt idx="52">
                  <c:v>29301</c:v>
                </c:pt>
                <c:pt idx="53">
                  <c:v>30133</c:v>
                </c:pt>
                <c:pt idx="54">
                  <c:v>30777</c:v>
                </c:pt>
                <c:pt idx="55">
                  <c:v>30863</c:v>
                </c:pt>
                <c:pt idx="56">
                  <c:v>30905</c:v>
                </c:pt>
                <c:pt idx="57">
                  <c:v>31459</c:v>
                </c:pt>
                <c:pt idx="58">
                  <c:v>32138</c:v>
                </c:pt>
                <c:pt idx="59">
                  <c:v>32976</c:v>
                </c:pt>
                <c:pt idx="60">
                  <c:v>33847</c:v>
                </c:pt>
                <c:pt idx="61">
                  <c:v>34709</c:v>
                </c:pt>
                <c:pt idx="62">
                  <c:v>34802</c:v>
                </c:pt>
                <c:pt idx="63">
                  <c:v>34934</c:v>
                </c:pt>
                <c:pt idx="64">
                  <c:v>36381</c:v>
                </c:pt>
                <c:pt idx="65">
                  <c:v>39082</c:v>
                </c:pt>
                <c:pt idx="66">
                  <c:v>41455</c:v>
                </c:pt>
                <c:pt idx="67">
                  <c:v>43997</c:v>
                </c:pt>
                <c:pt idx="68">
                  <c:v>45901</c:v>
                </c:pt>
                <c:pt idx="69">
                  <c:v>46724</c:v>
                </c:pt>
                <c:pt idx="70">
                  <c:v>47398</c:v>
                </c:pt>
                <c:pt idx="71">
                  <c:v>49242</c:v>
                </c:pt>
                <c:pt idx="72">
                  <c:v>51353</c:v>
                </c:pt>
                <c:pt idx="73">
                  <c:v>53256</c:v>
                </c:pt>
                <c:pt idx="74">
                  <c:v>55351</c:v>
                </c:pt>
                <c:pt idx="75">
                  <c:v>57039</c:v>
                </c:pt>
                <c:pt idx="76">
                  <c:v>57641</c:v>
                </c:pt>
                <c:pt idx="77">
                  <c:v>58008</c:v>
                </c:pt>
                <c:pt idx="78">
                  <c:v>59162</c:v>
                </c:pt>
                <c:pt idx="79">
                  <c:v>60862</c:v>
                </c:pt>
                <c:pt idx="80">
                  <c:v>62473</c:v>
                </c:pt>
                <c:pt idx="81">
                  <c:v>64024</c:v>
                </c:pt>
                <c:pt idx="82">
                  <c:v>65918</c:v>
                </c:pt>
                <c:pt idx="83">
                  <c:v>66346</c:v>
                </c:pt>
                <c:pt idx="84">
                  <c:v>66539</c:v>
                </c:pt>
                <c:pt idx="85">
                  <c:v>68194</c:v>
                </c:pt>
                <c:pt idx="86">
                  <c:v>69960</c:v>
                </c:pt>
                <c:pt idx="87">
                  <c:v>72016</c:v>
                </c:pt>
                <c:pt idx="88">
                  <c:v>74116</c:v>
                </c:pt>
                <c:pt idx="89">
                  <c:v>76247</c:v>
                </c:pt>
                <c:pt idx="90">
                  <c:v>76742</c:v>
                </c:pt>
                <c:pt idx="91">
                  <c:v>77189</c:v>
                </c:pt>
                <c:pt idx="92">
                  <c:v>79518</c:v>
                </c:pt>
                <c:pt idx="93">
                  <c:v>82183</c:v>
                </c:pt>
                <c:pt idx="94">
                  <c:v>84701</c:v>
                </c:pt>
                <c:pt idx="95">
                  <c:v>87592</c:v>
                </c:pt>
                <c:pt idx="96">
                  <c:v>88371</c:v>
                </c:pt>
                <c:pt idx="97">
                  <c:v>89058</c:v>
                </c:pt>
                <c:pt idx="98">
                  <c:v>89484</c:v>
                </c:pt>
                <c:pt idx="99">
                  <c:v>89915</c:v>
                </c:pt>
                <c:pt idx="100">
                  <c:v>92186</c:v>
                </c:pt>
                <c:pt idx="101">
                  <c:v>94415</c:v>
                </c:pt>
                <c:pt idx="102">
                  <c:v>97558</c:v>
                </c:pt>
                <c:pt idx="103">
                  <c:v>100920</c:v>
                </c:pt>
                <c:pt idx="104">
                  <c:v>102154</c:v>
                </c:pt>
                <c:pt idx="105">
                  <c:v>102863</c:v>
                </c:pt>
                <c:pt idx="106">
                  <c:v>106084</c:v>
                </c:pt>
                <c:pt idx="107">
                  <c:v>109173</c:v>
                </c:pt>
                <c:pt idx="108">
                  <c:v>112483</c:v>
                </c:pt>
                <c:pt idx="109">
                  <c:v>116558</c:v>
                </c:pt>
                <c:pt idx="110">
                  <c:v>121197</c:v>
                </c:pt>
                <c:pt idx="111">
                  <c:v>122486</c:v>
                </c:pt>
                <c:pt idx="112">
                  <c:v>123336</c:v>
                </c:pt>
                <c:pt idx="113">
                  <c:v>126851</c:v>
                </c:pt>
                <c:pt idx="114">
                  <c:v>130399</c:v>
                </c:pt>
                <c:pt idx="115">
                  <c:v>134352</c:v>
                </c:pt>
                <c:pt idx="116">
                  <c:v>138883</c:v>
                </c:pt>
                <c:pt idx="117">
                  <c:v>143355</c:v>
                </c:pt>
                <c:pt idx="118">
                  <c:v>145263</c:v>
                </c:pt>
                <c:pt idx="119">
                  <c:v>148207</c:v>
                </c:pt>
                <c:pt idx="120">
                  <c:v>157077</c:v>
                </c:pt>
                <c:pt idx="121">
                  <c:v>169709</c:v>
                </c:pt>
                <c:pt idx="122">
                  <c:v>186509</c:v>
                </c:pt>
                <c:pt idx="123">
                  <c:v>208579</c:v>
                </c:pt>
                <c:pt idx="124">
                  <c:v>229748</c:v>
                </c:pt>
                <c:pt idx="125">
                  <c:v>236572</c:v>
                </c:pt>
                <c:pt idx="126">
                  <c:v>242354</c:v>
                </c:pt>
                <c:pt idx="127">
                  <c:v>263880</c:v>
                </c:pt>
                <c:pt idx="128">
                  <c:v>281643</c:v>
                </c:pt>
                <c:pt idx="129">
                  <c:v>301503</c:v>
                </c:pt>
                <c:pt idx="130">
                  <c:v>319575</c:v>
                </c:pt>
                <c:pt idx="131">
                  <c:v>336639</c:v>
                </c:pt>
                <c:pt idx="132">
                  <c:v>341475</c:v>
                </c:pt>
                <c:pt idx="133">
                  <c:v>345485</c:v>
                </c:pt>
                <c:pt idx="134">
                  <c:v>357041</c:v>
                </c:pt>
                <c:pt idx="135">
                  <c:v>368412</c:v>
                </c:pt>
                <c:pt idx="136">
                  <c:v>378218</c:v>
                </c:pt>
                <c:pt idx="137">
                  <c:v>387323</c:v>
                </c:pt>
                <c:pt idx="138">
                  <c:v>395379</c:v>
                </c:pt>
                <c:pt idx="139">
                  <c:v>398062</c:v>
                </c:pt>
                <c:pt idx="140">
                  <c:v>400082</c:v>
                </c:pt>
                <c:pt idx="141">
                  <c:v>405513</c:v>
                </c:pt>
                <c:pt idx="142">
                  <c:v>411366</c:v>
                </c:pt>
                <c:pt idx="143">
                  <c:v>417142</c:v>
                </c:pt>
                <c:pt idx="144">
                  <c:v>423361</c:v>
                </c:pt>
                <c:pt idx="145">
                  <c:v>428959</c:v>
                </c:pt>
                <c:pt idx="146">
                  <c:v>431526</c:v>
                </c:pt>
                <c:pt idx="147">
                  <c:v>433317</c:v>
                </c:pt>
                <c:pt idx="148">
                  <c:v>438246</c:v>
                </c:pt>
                <c:pt idx="149">
                  <c:v>443951</c:v>
                </c:pt>
                <c:pt idx="150">
                  <c:v>450195</c:v>
                </c:pt>
                <c:pt idx="151">
                  <c:v>456943</c:v>
                </c:pt>
                <c:pt idx="152">
                  <c:v>463366</c:v>
                </c:pt>
                <c:pt idx="153">
                  <c:v>465402</c:v>
                </c:pt>
                <c:pt idx="154">
                  <c:v>466931</c:v>
                </c:pt>
                <c:pt idx="155">
                  <c:v>472175</c:v>
                </c:pt>
                <c:pt idx="156">
                  <c:v>477784</c:v>
                </c:pt>
                <c:pt idx="157">
                  <c:v>483745</c:v>
                </c:pt>
                <c:pt idx="158">
                  <c:v>489848</c:v>
                </c:pt>
                <c:pt idx="159">
                  <c:v>495831</c:v>
                </c:pt>
                <c:pt idx="160">
                  <c:v>498507</c:v>
                </c:pt>
                <c:pt idx="161">
                  <c:v>501772</c:v>
                </c:pt>
                <c:pt idx="162">
                  <c:v>511681</c:v>
                </c:pt>
                <c:pt idx="163">
                  <c:v>524808</c:v>
                </c:pt>
                <c:pt idx="164">
                  <c:v>541428</c:v>
                </c:pt>
                <c:pt idx="165">
                  <c:v>562561</c:v>
                </c:pt>
                <c:pt idx="166">
                  <c:v>583815</c:v>
                </c:pt>
                <c:pt idx="167">
                  <c:v>591150</c:v>
                </c:pt>
                <c:pt idx="168">
                  <c:v>596853</c:v>
                </c:pt>
                <c:pt idx="169">
                  <c:v>618756</c:v>
                </c:pt>
                <c:pt idx="170">
                  <c:v>636806</c:v>
                </c:pt>
                <c:pt idx="171">
                  <c:v>656311</c:v>
                </c:pt>
                <c:pt idx="172">
                  <c:v>673478</c:v>
                </c:pt>
                <c:pt idx="173">
                  <c:v>690102</c:v>
                </c:pt>
                <c:pt idx="174">
                  <c:v>694798</c:v>
                </c:pt>
                <c:pt idx="175">
                  <c:v>6985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80+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FU$1</c:f>
              <c:strCache>
                <c:ptCount val="176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</c:strCache>
            </c:strRef>
          </c:cat>
          <c:val>
            <c:numRef>
              <c:f>List1!$B$5:$FU$5</c:f>
              <c:numCache>
                <c:formatCode>General</c:formatCode>
                <c:ptCount val="176"/>
                <c:pt idx="0">
                  <c:v>26</c:v>
                </c:pt>
                <c:pt idx="1">
                  <c:v>125</c:v>
                </c:pt>
                <c:pt idx="2">
                  <c:v>405</c:v>
                </c:pt>
                <c:pt idx="3">
                  <c:v>599</c:v>
                </c:pt>
                <c:pt idx="4">
                  <c:v>717</c:v>
                </c:pt>
                <c:pt idx="5">
                  <c:v>720</c:v>
                </c:pt>
                <c:pt idx="6">
                  <c:v>732</c:v>
                </c:pt>
                <c:pt idx="7">
                  <c:v>735</c:v>
                </c:pt>
                <c:pt idx="8">
                  <c:v>766</c:v>
                </c:pt>
                <c:pt idx="9">
                  <c:v>807</c:v>
                </c:pt>
                <c:pt idx="10">
                  <c:v>874</c:v>
                </c:pt>
                <c:pt idx="11">
                  <c:v>1277</c:v>
                </c:pt>
                <c:pt idx="12">
                  <c:v>2137</c:v>
                </c:pt>
                <c:pt idx="13">
                  <c:v>2324</c:v>
                </c:pt>
                <c:pt idx="14">
                  <c:v>2431</c:v>
                </c:pt>
                <c:pt idx="15">
                  <c:v>3067</c:v>
                </c:pt>
                <c:pt idx="16">
                  <c:v>4725</c:v>
                </c:pt>
                <c:pt idx="17">
                  <c:v>6425</c:v>
                </c:pt>
                <c:pt idx="18">
                  <c:v>8713</c:v>
                </c:pt>
                <c:pt idx="19">
                  <c:v>11007</c:v>
                </c:pt>
                <c:pt idx="20">
                  <c:v>12515</c:v>
                </c:pt>
                <c:pt idx="21">
                  <c:v>14167</c:v>
                </c:pt>
                <c:pt idx="22">
                  <c:v>18925</c:v>
                </c:pt>
                <c:pt idx="23">
                  <c:v>24636</c:v>
                </c:pt>
                <c:pt idx="24">
                  <c:v>31231</c:v>
                </c:pt>
                <c:pt idx="25">
                  <c:v>39532</c:v>
                </c:pt>
                <c:pt idx="26">
                  <c:v>48489</c:v>
                </c:pt>
                <c:pt idx="27">
                  <c:v>50969</c:v>
                </c:pt>
                <c:pt idx="28">
                  <c:v>52806</c:v>
                </c:pt>
                <c:pt idx="29">
                  <c:v>58955</c:v>
                </c:pt>
                <c:pt idx="30">
                  <c:v>65318</c:v>
                </c:pt>
                <c:pt idx="31">
                  <c:v>70815</c:v>
                </c:pt>
                <c:pt idx="32">
                  <c:v>75459</c:v>
                </c:pt>
                <c:pt idx="33">
                  <c:v>79800</c:v>
                </c:pt>
                <c:pt idx="34">
                  <c:v>80430</c:v>
                </c:pt>
                <c:pt idx="35">
                  <c:v>81089</c:v>
                </c:pt>
                <c:pt idx="36">
                  <c:v>84031</c:v>
                </c:pt>
                <c:pt idx="37">
                  <c:v>87357</c:v>
                </c:pt>
                <c:pt idx="38">
                  <c:v>90954</c:v>
                </c:pt>
                <c:pt idx="39">
                  <c:v>95732</c:v>
                </c:pt>
                <c:pt idx="40">
                  <c:v>100477</c:v>
                </c:pt>
                <c:pt idx="41">
                  <c:v>102256</c:v>
                </c:pt>
                <c:pt idx="42">
                  <c:v>104363</c:v>
                </c:pt>
                <c:pt idx="43">
                  <c:v>110435</c:v>
                </c:pt>
                <c:pt idx="44">
                  <c:v>118033</c:v>
                </c:pt>
                <c:pt idx="45">
                  <c:v>126771</c:v>
                </c:pt>
                <c:pt idx="46">
                  <c:v>137989</c:v>
                </c:pt>
                <c:pt idx="47">
                  <c:v>149380</c:v>
                </c:pt>
                <c:pt idx="48">
                  <c:v>152295</c:v>
                </c:pt>
                <c:pt idx="49">
                  <c:v>154089</c:v>
                </c:pt>
                <c:pt idx="50">
                  <c:v>162982</c:v>
                </c:pt>
                <c:pt idx="51">
                  <c:v>173561</c:v>
                </c:pt>
                <c:pt idx="52">
                  <c:v>183722</c:v>
                </c:pt>
                <c:pt idx="53">
                  <c:v>195482</c:v>
                </c:pt>
                <c:pt idx="54">
                  <c:v>206636</c:v>
                </c:pt>
                <c:pt idx="55">
                  <c:v>208849</c:v>
                </c:pt>
                <c:pt idx="56">
                  <c:v>210475</c:v>
                </c:pt>
                <c:pt idx="57">
                  <c:v>220476</c:v>
                </c:pt>
                <c:pt idx="58">
                  <c:v>232436</c:v>
                </c:pt>
                <c:pt idx="59">
                  <c:v>243614</c:v>
                </c:pt>
                <c:pt idx="60">
                  <c:v>256941</c:v>
                </c:pt>
                <c:pt idx="61">
                  <c:v>268321</c:v>
                </c:pt>
                <c:pt idx="62">
                  <c:v>270556</c:v>
                </c:pt>
                <c:pt idx="63">
                  <c:v>272211</c:v>
                </c:pt>
                <c:pt idx="64">
                  <c:v>282162</c:v>
                </c:pt>
                <c:pt idx="65">
                  <c:v>292029</c:v>
                </c:pt>
                <c:pt idx="66">
                  <c:v>302376</c:v>
                </c:pt>
                <c:pt idx="67">
                  <c:v>313159</c:v>
                </c:pt>
                <c:pt idx="68">
                  <c:v>321975</c:v>
                </c:pt>
                <c:pt idx="69">
                  <c:v>324501</c:v>
                </c:pt>
                <c:pt idx="70">
                  <c:v>326735</c:v>
                </c:pt>
                <c:pt idx="71">
                  <c:v>334540</c:v>
                </c:pt>
                <c:pt idx="72">
                  <c:v>344016</c:v>
                </c:pt>
                <c:pt idx="73">
                  <c:v>354203</c:v>
                </c:pt>
                <c:pt idx="74">
                  <c:v>364881</c:v>
                </c:pt>
                <c:pt idx="75">
                  <c:v>373404</c:v>
                </c:pt>
                <c:pt idx="76">
                  <c:v>375793</c:v>
                </c:pt>
                <c:pt idx="77">
                  <c:v>377446</c:v>
                </c:pt>
                <c:pt idx="78">
                  <c:v>385017</c:v>
                </c:pt>
                <c:pt idx="79">
                  <c:v>395107</c:v>
                </c:pt>
                <c:pt idx="80">
                  <c:v>404686</c:v>
                </c:pt>
                <c:pt idx="81">
                  <c:v>416126</c:v>
                </c:pt>
                <c:pt idx="82">
                  <c:v>427056</c:v>
                </c:pt>
                <c:pt idx="83">
                  <c:v>429445</c:v>
                </c:pt>
                <c:pt idx="84">
                  <c:v>431058</c:v>
                </c:pt>
                <c:pt idx="85">
                  <c:v>438804</c:v>
                </c:pt>
                <c:pt idx="86">
                  <c:v>446698</c:v>
                </c:pt>
                <c:pt idx="87">
                  <c:v>454663</c:v>
                </c:pt>
                <c:pt idx="88">
                  <c:v>464392</c:v>
                </c:pt>
                <c:pt idx="89">
                  <c:v>472124</c:v>
                </c:pt>
                <c:pt idx="90">
                  <c:v>473998</c:v>
                </c:pt>
                <c:pt idx="91">
                  <c:v>475336</c:v>
                </c:pt>
                <c:pt idx="92">
                  <c:v>481841</c:v>
                </c:pt>
                <c:pt idx="93">
                  <c:v>488190</c:v>
                </c:pt>
                <c:pt idx="94">
                  <c:v>495124</c:v>
                </c:pt>
                <c:pt idx="95">
                  <c:v>502350</c:v>
                </c:pt>
                <c:pt idx="96">
                  <c:v>504396</c:v>
                </c:pt>
                <c:pt idx="97">
                  <c:v>505884</c:v>
                </c:pt>
                <c:pt idx="98">
                  <c:v>507215</c:v>
                </c:pt>
                <c:pt idx="99">
                  <c:v>508118</c:v>
                </c:pt>
                <c:pt idx="100">
                  <c:v>512523</c:v>
                </c:pt>
                <c:pt idx="101">
                  <c:v>516924</c:v>
                </c:pt>
                <c:pt idx="102">
                  <c:v>523068</c:v>
                </c:pt>
                <c:pt idx="103">
                  <c:v>528084</c:v>
                </c:pt>
                <c:pt idx="104">
                  <c:v>529869</c:v>
                </c:pt>
                <c:pt idx="105">
                  <c:v>530938</c:v>
                </c:pt>
                <c:pt idx="106">
                  <c:v>534359</c:v>
                </c:pt>
                <c:pt idx="107">
                  <c:v>537966</c:v>
                </c:pt>
                <c:pt idx="108">
                  <c:v>541393</c:v>
                </c:pt>
                <c:pt idx="109">
                  <c:v>545455</c:v>
                </c:pt>
                <c:pt idx="110">
                  <c:v>548782</c:v>
                </c:pt>
                <c:pt idx="111">
                  <c:v>549499</c:v>
                </c:pt>
                <c:pt idx="112">
                  <c:v>550039</c:v>
                </c:pt>
                <c:pt idx="113">
                  <c:v>552366</c:v>
                </c:pt>
                <c:pt idx="114">
                  <c:v>554801</c:v>
                </c:pt>
                <c:pt idx="115">
                  <c:v>557093</c:v>
                </c:pt>
                <c:pt idx="116">
                  <c:v>559707</c:v>
                </c:pt>
                <c:pt idx="117">
                  <c:v>561578</c:v>
                </c:pt>
                <c:pt idx="118">
                  <c:v>562155</c:v>
                </c:pt>
                <c:pt idx="119">
                  <c:v>562502</c:v>
                </c:pt>
                <c:pt idx="120">
                  <c:v>564012</c:v>
                </c:pt>
                <c:pt idx="121">
                  <c:v>565708</c:v>
                </c:pt>
                <c:pt idx="122">
                  <c:v>567671</c:v>
                </c:pt>
                <c:pt idx="123">
                  <c:v>569978</c:v>
                </c:pt>
                <c:pt idx="124">
                  <c:v>571427</c:v>
                </c:pt>
                <c:pt idx="125">
                  <c:v>571791</c:v>
                </c:pt>
                <c:pt idx="126">
                  <c:v>572143</c:v>
                </c:pt>
                <c:pt idx="127">
                  <c:v>573319</c:v>
                </c:pt>
                <c:pt idx="128">
                  <c:v>575097</c:v>
                </c:pt>
                <c:pt idx="129">
                  <c:v>576989</c:v>
                </c:pt>
                <c:pt idx="130">
                  <c:v>579314</c:v>
                </c:pt>
                <c:pt idx="131">
                  <c:v>581140</c:v>
                </c:pt>
                <c:pt idx="132">
                  <c:v>581516</c:v>
                </c:pt>
                <c:pt idx="133">
                  <c:v>581881</c:v>
                </c:pt>
                <c:pt idx="134">
                  <c:v>583862</c:v>
                </c:pt>
                <c:pt idx="135">
                  <c:v>586490</c:v>
                </c:pt>
                <c:pt idx="136">
                  <c:v>589118</c:v>
                </c:pt>
                <c:pt idx="137">
                  <c:v>591753</c:v>
                </c:pt>
                <c:pt idx="138">
                  <c:v>593797</c:v>
                </c:pt>
                <c:pt idx="139">
                  <c:v>594559</c:v>
                </c:pt>
                <c:pt idx="140">
                  <c:v>595177</c:v>
                </c:pt>
                <c:pt idx="141">
                  <c:v>596910</c:v>
                </c:pt>
                <c:pt idx="142">
                  <c:v>599422</c:v>
                </c:pt>
                <c:pt idx="143">
                  <c:v>602582</c:v>
                </c:pt>
                <c:pt idx="144">
                  <c:v>606246</c:v>
                </c:pt>
                <c:pt idx="145">
                  <c:v>608828</c:v>
                </c:pt>
                <c:pt idx="146">
                  <c:v>609497</c:v>
                </c:pt>
                <c:pt idx="147">
                  <c:v>609973</c:v>
                </c:pt>
                <c:pt idx="148">
                  <c:v>612888</c:v>
                </c:pt>
                <c:pt idx="149">
                  <c:v>616449</c:v>
                </c:pt>
                <c:pt idx="150">
                  <c:v>619883</c:v>
                </c:pt>
                <c:pt idx="151">
                  <c:v>623352</c:v>
                </c:pt>
                <c:pt idx="152">
                  <c:v>626048</c:v>
                </c:pt>
                <c:pt idx="153">
                  <c:v>626551</c:v>
                </c:pt>
                <c:pt idx="154">
                  <c:v>627040</c:v>
                </c:pt>
                <c:pt idx="155">
                  <c:v>629177</c:v>
                </c:pt>
                <c:pt idx="156">
                  <c:v>632156</c:v>
                </c:pt>
                <c:pt idx="157">
                  <c:v>635837</c:v>
                </c:pt>
                <c:pt idx="158">
                  <c:v>639526</c:v>
                </c:pt>
                <c:pt idx="159">
                  <c:v>642220</c:v>
                </c:pt>
                <c:pt idx="160">
                  <c:v>642833</c:v>
                </c:pt>
                <c:pt idx="161">
                  <c:v>643166</c:v>
                </c:pt>
                <c:pt idx="162">
                  <c:v>645485</c:v>
                </c:pt>
                <c:pt idx="163">
                  <c:v>648305</c:v>
                </c:pt>
                <c:pt idx="164">
                  <c:v>651021</c:v>
                </c:pt>
                <c:pt idx="165">
                  <c:v>653905</c:v>
                </c:pt>
                <c:pt idx="166">
                  <c:v>656066</c:v>
                </c:pt>
                <c:pt idx="167">
                  <c:v>656587</c:v>
                </c:pt>
                <c:pt idx="168">
                  <c:v>656892</c:v>
                </c:pt>
                <c:pt idx="169">
                  <c:v>658807</c:v>
                </c:pt>
                <c:pt idx="170">
                  <c:v>661028</c:v>
                </c:pt>
                <c:pt idx="171">
                  <c:v>663151</c:v>
                </c:pt>
                <c:pt idx="172">
                  <c:v>665419</c:v>
                </c:pt>
                <c:pt idx="173">
                  <c:v>667008</c:v>
                </c:pt>
                <c:pt idx="174">
                  <c:v>667421</c:v>
                </c:pt>
                <c:pt idx="175">
                  <c:v>6676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9B2-46E3-85FE-A83BCF6CC085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55–59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FU$1</c:f>
              <c:strCache>
                <c:ptCount val="176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</c:strCache>
            </c:strRef>
          </c:cat>
          <c:val>
            <c:numRef>
              <c:f>List1!$B$6:$FU$6</c:f>
              <c:numCache>
                <c:formatCode>General</c:formatCode>
                <c:ptCount val="176"/>
                <c:pt idx="0">
                  <c:v>107</c:v>
                </c:pt>
                <c:pt idx="1">
                  <c:v>309</c:v>
                </c:pt>
                <c:pt idx="2">
                  <c:v>643</c:v>
                </c:pt>
                <c:pt idx="3">
                  <c:v>1016</c:v>
                </c:pt>
                <c:pt idx="4">
                  <c:v>1129</c:v>
                </c:pt>
                <c:pt idx="5">
                  <c:v>1159</c:v>
                </c:pt>
                <c:pt idx="6">
                  <c:v>1286</c:v>
                </c:pt>
                <c:pt idx="7">
                  <c:v>1386</c:v>
                </c:pt>
                <c:pt idx="8">
                  <c:v>1808</c:v>
                </c:pt>
                <c:pt idx="9">
                  <c:v>2329</c:v>
                </c:pt>
                <c:pt idx="10">
                  <c:v>2980</c:v>
                </c:pt>
                <c:pt idx="11">
                  <c:v>3818</c:v>
                </c:pt>
                <c:pt idx="12">
                  <c:v>4830</c:v>
                </c:pt>
                <c:pt idx="13">
                  <c:v>5044</c:v>
                </c:pt>
                <c:pt idx="14">
                  <c:v>5231</c:v>
                </c:pt>
                <c:pt idx="15">
                  <c:v>6269</c:v>
                </c:pt>
                <c:pt idx="16">
                  <c:v>7539</c:v>
                </c:pt>
                <c:pt idx="17">
                  <c:v>8884</c:v>
                </c:pt>
                <c:pt idx="18">
                  <c:v>10372</c:v>
                </c:pt>
                <c:pt idx="19">
                  <c:v>11753</c:v>
                </c:pt>
                <c:pt idx="20">
                  <c:v>11942</c:v>
                </c:pt>
                <c:pt idx="21">
                  <c:v>12081</c:v>
                </c:pt>
                <c:pt idx="22">
                  <c:v>13113</c:v>
                </c:pt>
                <c:pt idx="23">
                  <c:v>14274</c:v>
                </c:pt>
                <c:pt idx="24">
                  <c:v>15449</c:v>
                </c:pt>
                <c:pt idx="25">
                  <c:v>16520</c:v>
                </c:pt>
                <c:pt idx="26">
                  <c:v>17368</c:v>
                </c:pt>
                <c:pt idx="27">
                  <c:v>17564</c:v>
                </c:pt>
                <c:pt idx="28">
                  <c:v>17697</c:v>
                </c:pt>
                <c:pt idx="29">
                  <c:v>18435</c:v>
                </c:pt>
                <c:pt idx="30">
                  <c:v>19410</c:v>
                </c:pt>
                <c:pt idx="31">
                  <c:v>20362</c:v>
                </c:pt>
                <c:pt idx="32">
                  <c:v>21294</c:v>
                </c:pt>
                <c:pt idx="33">
                  <c:v>22431</c:v>
                </c:pt>
                <c:pt idx="34">
                  <c:v>22577</c:v>
                </c:pt>
                <c:pt idx="35">
                  <c:v>22698</c:v>
                </c:pt>
                <c:pt idx="36">
                  <c:v>23670</c:v>
                </c:pt>
                <c:pt idx="37">
                  <c:v>24882</c:v>
                </c:pt>
                <c:pt idx="38">
                  <c:v>26249</c:v>
                </c:pt>
                <c:pt idx="39">
                  <c:v>27734</c:v>
                </c:pt>
                <c:pt idx="40">
                  <c:v>29035</c:v>
                </c:pt>
                <c:pt idx="41">
                  <c:v>29185</c:v>
                </c:pt>
                <c:pt idx="42">
                  <c:v>29328</c:v>
                </c:pt>
                <c:pt idx="43">
                  <c:v>30397</c:v>
                </c:pt>
                <c:pt idx="44">
                  <c:v>31501</c:v>
                </c:pt>
                <c:pt idx="45">
                  <c:v>32728</c:v>
                </c:pt>
                <c:pt idx="46">
                  <c:v>33973</c:v>
                </c:pt>
                <c:pt idx="47">
                  <c:v>35119</c:v>
                </c:pt>
                <c:pt idx="48">
                  <c:v>35310</c:v>
                </c:pt>
                <c:pt idx="49">
                  <c:v>35390</c:v>
                </c:pt>
                <c:pt idx="50">
                  <c:v>36111</c:v>
                </c:pt>
                <c:pt idx="51">
                  <c:v>36863</c:v>
                </c:pt>
                <c:pt idx="52">
                  <c:v>37761</c:v>
                </c:pt>
                <c:pt idx="53">
                  <c:v>38721</c:v>
                </c:pt>
                <c:pt idx="54">
                  <c:v>39618</c:v>
                </c:pt>
                <c:pt idx="55">
                  <c:v>39709</c:v>
                </c:pt>
                <c:pt idx="56">
                  <c:v>39753</c:v>
                </c:pt>
                <c:pt idx="57">
                  <c:v>40453</c:v>
                </c:pt>
                <c:pt idx="58">
                  <c:v>41285</c:v>
                </c:pt>
                <c:pt idx="59">
                  <c:v>42229</c:v>
                </c:pt>
                <c:pt idx="60">
                  <c:v>43295</c:v>
                </c:pt>
                <c:pt idx="61">
                  <c:v>44361</c:v>
                </c:pt>
                <c:pt idx="62">
                  <c:v>44478</c:v>
                </c:pt>
                <c:pt idx="63">
                  <c:v>44685</c:v>
                </c:pt>
                <c:pt idx="64">
                  <c:v>46367</c:v>
                </c:pt>
                <c:pt idx="65">
                  <c:v>49569</c:v>
                </c:pt>
                <c:pt idx="66">
                  <c:v>52256</c:v>
                </c:pt>
                <c:pt idx="67">
                  <c:v>54730</c:v>
                </c:pt>
                <c:pt idx="68">
                  <c:v>56958</c:v>
                </c:pt>
                <c:pt idx="69">
                  <c:v>58078</c:v>
                </c:pt>
                <c:pt idx="70">
                  <c:v>58969</c:v>
                </c:pt>
                <c:pt idx="71">
                  <c:v>61219</c:v>
                </c:pt>
                <c:pt idx="72">
                  <c:v>63691</c:v>
                </c:pt>
                <c:pt idx="73">
                  <c:v>66295</c:v>
                </c:pt>
                <c:pt idx="74">
                  <c:v>68941</c:v>
                </c:pt>
                <c:pt idx="75">
                  <c:v>71282</c:v>
                </c:pt>
                <c:pt idx="76">
                  <c:v>72237</c:v>
                </c:pt>
                <c:pt idx="77">
                  <c:v>72875</c:v>
                </c:pt>
                <c:pt idx="78">
                  <c:v>74473</c:v>
                </c:pt>
                <c:pt idx="79">
                  <c:v>76866</c:v>
                </c:pt>
                <c:pt idx="80">
                  <c:v>79103</c:v>
                </c:pt>
                <c:pt idx="81">
                  <c:v>81297</c:v>
                </c:pt>
                <c:pt idx="82">
                  <c:v>83775</c:v>
                </c:pt>
                <c:pt idx="83">
                  <c:v>84633</c:v>
                </c:pt>
                <c:pt idx="84">
                  <c:v>84977</c:v>
                </c:pt>
                <c:pt idx="85">
                  <c:v>87011</c:v>
                </c:pt>
                <c:pt idx="86">
                  <c:v>89243</c:v>
                </c:pt>
                <c:pt idx="87">
                  <c:v>91504</c:v>
                </c:pt>
                <c:pt idx="88">
                  <c:v>93708</c:v>
                </c:pt>
                <c:pt idx="89">
                  <c:v>96133</c:v>
                </c:pt>
                <c:pt idx="90">
                  <c:v>96920</c:v>
                </c:pt>
                <c:pt idx="91">
                  <c:v>97594</c:v>
                </c:pt>
                <c:pt idx="92">
                  <c:v>99953</c:v>
                </c:pt>
                <c:pt idx="93">
                  <c:v>102710</c:v>
                </c:pt>
                <c:pt idx="94">
                  <c:v>105590</c:v>
                </c:pt>
                <c:pt idx="95">
                  <c:v>108787</c:v>
                </c:pt>
                <c:pt idx="96">
                  <c:v>109917</c:v>
                </c:pt>
                <c:pt idx="97">
                  <c:v>110778</c:v>
                </c:pt>
                <c:pt idx="98">
                  <c:v>111481</c:v>
                </c:pt>
                <c:pt idx="99">
                  <c:v>111959</c:v>
                </c:pt>
                <c:pt idx="100">
                  <c:v>114699</c:v>
                </c:pt>
                <c:pt idx="101">
                  <c:v>117385</c:v>
                </c:pt>
                <c:pt idx="102">
                  <c:v>120418</c:v>
                </c:pt>
                <c:pt idx="103">
                  <c:v>124147</c:v>
                </c:pt>
                <c:pt idx="104">
                  <c:v>125641</c:v>
                </c:pt>
                <c:pt idx="105">
                  <c:v>126470</c:v>
                </c:pt>
                <c:pt idx="106">
                  <c:v>129512</c:v>
                </c:pt>
                <c:pt idx="107">
                  <c:v>132634</c:v>
                </c:pt>
                <c:pt idx="108">
                  <c:v>135706</c:v>
                </c:pt>
                <c:pt idx="109">
                  <c:v>139360</c:v>
                </c:pt>
                <c:pt idx="110">
                  <c:v>143739</c:v>
                </c:pt>
                <c:pt idx="111">
                  <c:v>145561</c:v>
                </c:pt>
                <c:pt idx="112">
                  <c:v>146495</c:v>
                </c:pt>
                <c:pt idx="113">
                  <c:v>149631</c:v>
                </c:pt>
                <c:pt idx="114">
                  <c:v>152742</c:v>
                </c:pt>
                <c:pt idx="115">
                  <c:v>155953</c:v>
                </c:pt>
                <c:pt idx="116">
                  <c:v>159764</c:v>
                </c:pt>
                <c:pt idx="117">
                  <c:v>163456</c:v>
                </c:pt>
                <c:pt idx="118">
                  <c:v>164404</c:v>
                </c:pt>
                <c:pt idx="119">
                  <c:v>165260</c:v>
                </c:pt>
                <c:pt idx="120">
                  <c:v>167519</c:v>
                </c:pt>
                <c:pt idx="121">
                  <c:v>169975</c:v>
                </c:pt>
                <c:pt idx="122">
                  <c:v>173131</c:v>
                </c:pt>
                <c:pt idx="123">
                  <c:v>179589</c:v>
                </c:pt>
                <c:pt idx="124">
                  <c:v>187715</c:v>
                </c:pt>
                <c:pt idx="125">
                  <c:v>192038</c:v>
                </c:pt>
                <c:pt idx="126">
                  <c:v>196350</c:v>
                </c:pt>
                <c:pt idx="127">
                  <c:v>213657</c:v>
                </c:pt>
                <c:pt idx="128">
                  <c:v>232941</c:v>
                </c:pt>
                <c:pt idx="129">
                  <c:v>254633</c:v>
                </c:pt>
                <c:pt idx="130">
                  <c:v>277462</c:v>
                </c:pt>
                <c:pt idx="131">
                  <c:v>299535</c:v>
                </c:pt>
                <c:pt idx="132">
                  <c:v>307140</c:v>
                </c:pt>
                <c:pt idx="133">
                  <c:v>313784</c:v>
                </c:pt>
                <c:pt idx="134">
                  <c:v>329528</c:v>
                </c:pt>
                <c:pt idx="135">
                  <c:v>344805</c:v>
                </c:pt>
                <c:pt idx="136">
                  <c:v>358161</c:v>
                </c:pt>
                <c:pt idx="137">
                  <c:v>370174</c:v>
                </c:pt>
                <c:pt idx="138">
                  <c:v>383344</c:v>
                </c:pt>
                <c:pt idx="139">
                  <c:v>387706</c:v>
                </c:pt>
                <c:pt idx="140">
                  <c:v>391281</c:v>
                </c:pt>
                <c:pt idx="141">
                  <c:v>399169</c:v>
                </c:pt>
                <c:pt idx="142">
                  <c:v>406993</c:v>
                </c:pt>
                <c:pt idx="143">
                  <c:v>414623</c:v>
                </c:pt>
                <c:pt idx="144">
                  <c:v>422238</c:v>
                </c:pt>
                <c:pt idx="145">
                  <c:v>429735</c:v>
                </c:pt>
                <c:pt idx="146">
                  <c:v>433279</c:v>
                </c:pt>
                <c:pt idx="147">
                  <c:v>435727</c:v>
                </c:pt>
                <c:pt idx="148">
                  <c:v>440927</c:v>
                </c:pt>
                <c:pt idx="149">
                  <c:v>447423</c:v>
                </c:pt>
                <c:pt idx="150">
                  <c:v>454299</c:v>
                </c:pt>
                <c:pt idx="151">
                  <c:v>461395</c:v>
                </c:pt>
                <c:pt idx="152">
                  <c:v>468463</c:v>
                </c:pt>
                <c:pt idx="153">
                  <c:v>471335</c:v>
                </c:pt>
                <c:pt idx="154">
                  <c:v>473402</c:v>
                </c:pt>
                <c:pt idx="155">
                  <c:v>478857</c:v>
                </c:pt>
                <c:pt idx="156">
                  <c:v>484551</c:v>
                </c:pt>
                <c:pt idx="157">
                  <c:v>490401</c:v>
                </c:pt>
                <c:pt idx="158">
                  <c:v>496319</c:v>
                </c:pt>
                <c:pt idx="159">
                  <c:v>502781</c:v>
                </c:pt>
                <c:pt idx="160">
                  <c:v>504970</c:v>
                </c:pt>
                <c:pt idx="161">
                  <c:v>506344</c:v>
                </c:pt>
                <c:pt idx="162">
                  <c:v>511039</c:v>
                </c:pt>
                <c:pt idx="163">
                  <c:v>515646</c:v>
                </c:pt>
                <c:pt idx="164">
                  <c:v>520455</c:v>
                </c:pt>
                <c:pt idx="165">
                  <c:v>527801</c:v>
                </c:pt>
                <c:pt idx="166">
                  <c:v>537362</c:v>
                </c:pt>
                <c:pt idx="167">
                  <c:v>542492</c:v>
                </c:pt>
                <c:pt idx="168">
                  <c:v>547066</c:v>
                </c:pt>
                <c:pt idx="169">
                  <c:v>565160</c:v>
                </c:pt>
                <c:pt idx="170">
                  <c:v>584884</c:v>
                </c:pt>
                <c:pt idx="171">
                  <c:v>606453</c:v>
                </c:pt>
                <c:pt idx="172">
                  <c:v>628713</c:v>
                </c:pt>
                <c:pt idx="173">
                  <c:v>650499</c:v>
                </c:pt>
                <c:pt idx="174">
                  <c:v>657541</c:v>
                </c:pt>
                <c:pt idx="175">
                  <c:v>663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519-41FB-ABC8-408C78914621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40–44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FU$1</c:f>
              <c:strCache>
                <c:ptCount val="176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</c:strCache>
            </c:strRef>
          </c:cat>
          <c:val>
            <c:numRef>
              <c:f>List1!$B$7:$FU$7</c:f>
              <c:numCache>
                <c:formatCode>General</c:formatCode>
                <c:ptCount val="176"/>
                <c:pt idx="0">
                  <c:v>178</c:v>
                </c:pt>
                <c:pt idx="1">
                  <c:v>469</c:v>
                </c:pt>
                <c:pt idx="2">
                  <c:v>901</c:v>
                </c:pt>
                <c:pt idx="3">
                  <c:v>1382</c:v>
                </c:pt>
                <c:pt idx="4">
                  <c:v>1537</c:v>
                </c:pt>
                <c:pt idx="5">
                  <c:v>1582</c:v>
                </c:pt>
                <c:pt idx="6">
                  <c:v>1783</c:v>
                </c:pt>
                <c:pt idx="7">
                  <c:v>1932</c:v>
                </c:pt>
                <c:pt idx="8">
                  <c:v>2448</c:v>
                </c:pt>
                <c:pt idx="9">
                  <c:v>3089</c:v>
                </c:pt>
                <c:pt idx="10">
                  <c:v>3923</c:v>
                </c:pt>
                <c:pt idx="11">
                  <c:v>4915</c:v>
                </c:pt>
                <c:pt idx="12">
                  <c:v>6189</c:v>
                </c:pt>
                <c:pt idx="13">
                  <c:v>6394</c:v>
                </c:pt>
                <c:pt idx="14">
                  <c:v>6602</c:v>
                </c:pt>
                <c:pt idx="15">
                  <c:v>7928</c:v>
                </c:pt>
                <c:pt idx="16">
                  <c:v>9499</c:v>
                </c:pt>
                <c:pt idx="17">
                  <c:v>10964</c:v>
                </c:pt>
                <c:pt idx="18">
                  <c:v>12550</c:v>
                </c:pt>
                <c:pt idx="19">
                  <c:v>13963</c:v>
                </c:pt>
                <c:pt idx="20">
                  <c:v>14174</c:v>
                </c:pt>
                <c:pt idx="21">
                  <c:v>14341</c:v>
                </c:pt>
                <c:pt idx="22">
                  <c:v>15557</c:v>
                </c:pt>
                <c:pt idx="23">
                  <c:v>16713</c:v>
                </c:pt>
                <c:pt idx="24">
                  <c:v>17805</c:v>
                </c:pt>
                <c:pt idx="25">
                  <c:v>18891</c:v>
                </c:pt>
                <c:pt idx="26">
                  <c:v>19748</c:v>
                </c:pt>
                <c:pt idx="27">
                  <c:v>19958</c:v>
                </c:pt>
                <c:pt idx="28">
                  <c:v>20124</c:v>
                </c:pt>
                <c:pt idx="29">
                  <c:v>20946</c:v>
                </c:pt>
                <c:pt idx="30">
                  <c:v>21948</c:v>
                </c:pt>
                <c:pt idx="31">
                  <c:v>23009</c:v>
                </c:pt>
                <c:pt idx="32">
                  <c:v>24108</c:v>
                </c:pt>
                <c:pt idx="33">
                  <c:v>25395</c:v>
                </c:pt>
                <c:pt idx="34">
                  <c:v>25527</c:v>
                </c:pt>
                <c:pt idx="35">
                  <c:v>25665</c:v>
                </c:pt>
                <c:pt idx="36">
                  <c:v>26894</c:v>
                </c:pt>
                <c:pt idx="37">
                  <c:v>28303</c:v>
                </c:pt>
                <c:pt idx="38">
                  <c:v>29787</c:v>
                </c:pt>
                <c:pt idx="39">
                  <c:v>31392</c:v>
                </c:pt>
                <c:pt idx="40">
                  <c:v>32777</c:v>
                </c:pt>
                <c:pt idx="41">
                  <c:v>32939</c:v>
                </c:pt>
                <c:pt idx="42">
                  <c:v>33061</c:v>
                </c:pt>
                <c:pt idx="43">
                  <c:v>34256</c:v>
                </c:pt>
                <c:pt idx="44">
                  <c:v>35415</c:v>
                </c:pt>
                <c:pt idx="45">
                  <c:v>36562</c:v>
                </c:pt>
                <c:pt idx="46">
                  <c:v>37804</c:v>
                </c:pt>
                <c:pt idx="47">
                  <c:v>38970</c:v>
                </c:pt>
                <c:pt idx="48">
                  <c:v>39132</c:v>
                </c:pt>
                <c:pt idx="49">
                  <c:v>39181</c:v>
                </c:pt>
                <c:pt idx="50">
                  <c:v>39968</c:v>
                </c:pt>
                <c:pt idx="51">
                  <c:v>40747</c:v>
                </c:pt>
                <c:pt idx="52">
                  <c:v>41527</c:v>
                </c:pt>
                <c:pt idx="53">
                  <c:v>42408</c:v>
                </c:pt>
                <c:pt idx="54">
                  <c:v>43255</c:v>
                </c:pt>
                <c:pt idx="55">
                  <c:v>43342</c:v>
                </c:pt>
                <c:pt idx="56">
                  <c:v>43366</c:v>
                </c:pt>
                <c:pt idx="57">
                  <c:v>44009</c:v>
                </c:pt>
                <c:pt idx="58">
                  <c:v>44900</c:v>
                </c:pt>
                <c:pt idx="59">
                  <c:v>45771</c:v>
                </c:pt>
                <c:pt idx="60">
                  <c:v>46836</c:v>
                </c:pt>
                <c:pt idx="61">
                  <c:v>47861</c:v>
                </c:pt>
                <c:pt idx="62">
                  <c:v>48009</c:v>
                </c:pt>
                <c:pt idx="63">
                  <c:v>48132</c:v>
                </c:pt>
                <c:pt idx="64">
                  <c:v>49348</c:v>
                </c:pt>
                <c:pt idx="65">
                  <c:v>51000</c:v>
                </c:pt>
                <c:pt idx="66">
                  <c:v>52879</c:v>
                </c:pt>
                <c:pt idx="67">
                  <c:v>54508</c:v>
                </c:pt>
                <c:pt idx="68">
                  <c:v>56098</c:v>
                </c:pt>
                <c:pt idx="69">
                  <c:v>56652</c:v>
                </c:pt>
                <c:pt idx="70">
                  <c:v>57279</c:v>
                </c:pt>
                <c:pt idx="71">
                  <c:v>58742</c:v>
                </c:pt>
                <c:pt idx="72">
                  <c:v>60585</c:v>
                </c:pt>
                <c:pt idx="73">
                  <c:v>62379</c:v>
                </c:pt>
                <c:pt idx="74">
                  <c:v>64467</c:v>
                </c:pt>
                <c:pt idx="75">
                  <c:v>66678</c:v>
                </c:pt>
                <c:pt idx="76">
                  <c:v>67342</c:v>
                </c:pt>
                <c:pt idx="77">
                  <c:v>67859</c:v>
                </c:pt>
                <c:pt idx="78">
                  <c:v>69403</c:v>
                </c:pt>
                <c:pt idx="79">
                  <c:v>71501</c:v>
                </c:pt>
                <c:pt idx="80">
                  <c:v>73273</c:v>
                </c:pt>
                <c:pt idx="81">
                  <c:v>75028</c:v>
                </c:pt>
                <c:pt idx="82">
                  <c:v>77067</c:v>
                </c:pt>
                <c:pt idx="83">
                  <c:v>77670</c:v>
                </c:pt>
                <c:pt idx="84">
                  <c:v>77946</c:v>
                </c:pt>
                <c:pt idx="85">
                  <c:v>79427</c:v>
                </c:pt>
                <c:pt idx="86">
                  <c:v>80940</c:v>
                </c:pt>
                <c:pt idx="87">
                  <c:v>82694</c:v>
                </c:pt>
                <c:pt idx="88">
                  <c:v>84553</c:v>
                </c:pt>
                <c:pt idx="89">
                  <c:v>86800</c:v>
                </c:pt>
                <c:pt idx="90">
                  <c:v>87272</c:v>
                </c:pt>
                <c:pt idx="91">
                  <c:v>87718</c:v>
                </c:pt>
                <c:pt idx="92">
                  <c:v>89446</c:v>
                </c:pt>
                <c:pt idx="93">
                  <c:v>91455</c:v>
                </c:pt>
                <c:pt idx="94">
                  <c:v>93558</c:v>
                </c:pt>
                <c:pt idx="95">
                  <c:v>96036</c:v>
                </c:pt>
                <c:pt idx="96">
                  <c:v>96936</c:v>
                </c:pt>
                <c:pt idx="97">
                  <c:v>97578</c:v>
                </c:pt>
                <c:pt idx="98">
                  <c:v>98116</c:v>
                </c:pt>
                <c:pt idx="99">
                  <c:v>98514</c:v>
                </c:pt>
                <c:pt idx="100">
                  <c:v>100402</c:v>
                </c:pt>
                <c:pt idx="101">
                  <c:v>102156</c:v>
                </c:pt>
                <c:pt idx="102">
                  <c:v>104709</c:v>
                </c:pt>
                <c:pt idx="103">
                  <c:v>107787</c:v>
                </c:pt>
                <c:pt idx="104">
                  <c:v>109351</c:v>
                </c:pt>
                <c:pt idx="105">
                  <c:v>110176</c:v>
                </c:pt>
                <c:pt idx="106">
                  <c:v>112549</c:v>
                </c:pt>
                <c:pt idx="107">
                  <c:v>115313</c:v>
                </c:pt>
                <c:pt idx="108">
                  <c:v>117770</c:v>
                </c:pt>
                <c:pt idx="109">
                  <c:v>120806</c:v>
                </c:pt>
                <c:pt idx="110">
                  <c:v>125024</c:v>
                </c:pt>
                <c:pt idx="111">
                  <c:v>126451</c:v>
                </c:pt>
                <c:pt idx="112">
                  <c:v>127501</c:v>
                </c:pt>
                <c:pt idx="113">
                  <c:v>130312</c:v>
                </c:pt>
                <c:pt idx="114">
                  <c:v>132772</c:v>
                </c:pt>
                <c:pt idx="115">
                  <c:v>135204</c:v>
                </c:pt>
                <c:pt idx="116">
                  <c:v>138201</c:v>
                </c:pt>
                <c:pt idx="117">
                  <c:v>141663</c:v>
                </c:pt>
                <c:pt idx="118">
                  <c:v>142618</c:v>
                </c:pt>
                <c:pt idx="119">
                  <c:v>143358</c:v>
                </c:pt>
                <c:pt idx="120">
                  <c:v>145063</c:v>
                </c:pt>
                <c:pt idx="121">
                  <c:v>146805</c:v>
                </c:pt>
                <c:pt idx="122">
                  <c:v>148939</c:v>
                </c:pt>
                <c:pt idx="123">
                  <c:v>151552</c:v>
                </c:pt>
                <c:pt idx="124">
                  <c:v>154307</c:v>
                </c:pt>
                <c:pt idx="125">
                  <c:v>155061</c:v>
                </c:pt>
                <c:pt idx="126">
                  <c:v>155668</c:v>
                </c:pt>
                <c:pt idx="127">
                  <c:v>157542</c:v>
                </c:pt>
                <c:pt idx="128">
                  <c:v>159824</c:v>
                </c:pt>
                <c:pt idx="129">
                  <c:v>162094</c:v>
                </c:pt>
                <c:pt idx="130">
                  <c:v>165084</c:v>
                </c:pt>
                <c:pt idx="131">
                  <c:v>168350</c:v>
                </c:pt>
                <c:pt idx="132">
                  <c:v>169467</c:v>
                </c:pt>
                <c:pt idx="133">
                  <c:v>170312</c:v>
                </c:pt>
                <c:pt idx="134">
                  <c:v>172718</c:v>
                </c:pt>
                <c:pt idx="135">
                  <c:v>175288</c:v>
                </c:pt>
                <c:pt idx="136">
                  <c:v>177808</c:v>
                </c:pt>
                <c:pt idx="137">
                  <c:v>180529</c:v>
                </c:pt>
                <c:pt idx="138">
                  <c:v>183154</c:v>
                </c:pt>
                <c:pt idx="139">
                  <c:v>184055</c:v>
                </c:pt>
                <c:pt idx="140">
                  <c:v>184715</c:v>
                </c:pt>
                <c:pt idx="141">
                  <c:v>187741</c:v>
                </c:pt>
                <c:pt idx="142">
                  <c:v>195193</c:v>
                </c:pt>
                <c:pt idx="143">
                  <c:v>209805</c:v>
                </c:pt>
                <c:pt idx="144">
                  <c:v>229219</c:v>
                </c:pt>
                <c:pt idx="145">
                  <c:v>246312</c:v>
                </c:pt>
                <c:pt idx="146">
                  <c:v>256437</c:v>
                </c:pt>
                <c:pt idx="147">
                  <c:v>262831</c:v>
                </c:pt>
                <c:pt idx="148">
                  <c:v>279667</c:v>
                </c:pt>
                <c:pt idx="149">
                  <c:v>297669</c:v>
                </c:pt>
                <c:pt idx="150">
                  <c:v>319230</c:v>
                </c:pt>
                <c:pt idx="151">
                  <c:v>338713</c:v>
                </c:pt>
                <c:pt idx="152">
                  <c:v>359366</c:v>
                </c:pt>
                <c:pt idx="153">
                  <c:v>370028</c:v>
                </c:pt>
                <c:pt idx="154">
                  <c:v>379180</c:v>
                </c:pt>
                <c:pt idx="155">
                  <c:v>398590</c:v>
                </c:pt>
                <c:pt idx="156">
                  <c:v>417061</c:v>
                </c:pt>
                <c:pt idx="157">
                  <c:v>433226</c:v>
                </c:pt>
                <c:pt idx="158">
                  <c:v>446163</c:v>
                </c:pt>
                <c:pt idx="159">
                  <c:v>462349</c:v>
                </c:pt>
                <c:pt idx="160">
                  <c:v>468670</c:v>
                </c:pt>
                <c:pt idx="161">
                  <c:v>472984</c:v>
                </c:pt>
                <c:pt idx="162">
                  <c:v>483879</c:v>
                </c:pt>
                <c:pt idx="163">
                  <c:v>493568</c:v>
                </c:pt>
                <c:pt idx="164">
                  <c:v>502230</c:v>
                </c:pt>
                <c:pt idx="165">
                  <c:v>509994</c:v>
                </c:pt>
                <c:pt idx="166">
                  <c:v>518694</c:v>
                </c:pt>
                <c:pt idx="167">
                  <c:v>523410</c:v>
                </c:pt>
                <c:pt idx="168">
                  <c:v>526332</c:v>
                </c:pt>
                <c:pt idx="169">
                  <c:v>532625</c:v>
                </c:pt>
                <c:pt idx="170">
                  <c:v>539136</c:v>
                </c:pt>
                <c:pt idx="171">
                  <c:v>545192</c:v>
                </c:pt>
                <c:pt idx="172">
                  <c:v>551430</c:v>
                </c:pt>
                <c:pt idx="173">
                  <c:v>558290</c:v>
                </c:pt>
                <c:pt idx="174">
                  <c:v>561180</c:v>
                </c:pt>
                <c:pt idx="175">
                  <c:v>5628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3BA-4B78-8658-BD29E9C67F23}"/>
            </c:ext>
          </c:extLst>
        </c:ser>
        <c:ser>
          <c:idx val="6"/>
          <c:order val="6"/>
          <c:tx>
            <c:strRef>
              <c:f>List1!$A$8</c:f>
              <c:strCache>
                <c:ptCount val="1"/>
                <c:pt idx="0">
                  <c:v>50–54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B$1:$FU$1</c:f>
              <c:strCache>
                <c:ptCount val="176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</c:strCache>
            </c:strRef>
          </c:cat>
          <c:val>
            <c:numRef>
              <c:f>List1!$B$8:$FU$8</c:f>
              <c:numCache>
                <c:formatCode>General</c:formatCode>
                <c:ptCount val="176"/>
                <c:pt idx="0">
                  <c:v>142</c:v>
                </c:pt>
                <c:pt idx="1">
                  <c:v>384</c:v>
                </c:pt>
                <c:pt idx="2">
                  <c:v>741</c:v>
                </c:pt>
                <c:pt idx="3">
                  <c:v>1107</c:v>
                </c:pt>
                <c:pt idx="4">
                  <c:v>1227</c:v>
                </c:pt>
                <c:pt idx="5">
                  <c:v>1260</c:v>
                </c:pt>
                <c:pt idx="6">
                  <c:v>1404</c:v>
                </c:pt>
                <c:pt idx="7">
                  <c:v>1515</c:v>
                </c:pt>
                <c:pt idx="8">
                  <c:v>1928</c:v>
                </c:pt>
                <c:pt idx="9">
                  <c:v>2494</c:v>
                </c:pt>
                <c:pt idx="10">
                  <c:v>3210</c:v>
                </c:pt>
                <c:pt idx="11">
                  <c:v>4133</c:v>
                </c:pt>
                <c:pt idx="12">
                  <c:v>5251</c:v>
                </c:pt>
                <c:pt idx="13">
                  <c:v>5444</c:v>
                </c:pt>
                <c:pt idx="14">
                  <c:v>5631</c:v>
                </c:pt>
                <c:pt idx="15">
                  <c:v>6696</c:v>
                </c:pt>
                <c:pt idx="16">
                  <c:v>8015</c:v>
                </c:pt>
                <c:pt idx="17">
                  <c:v>9444</c:v>
                </c:pt>
                <c:pt idx="18">
                  <c:v>10949</c:v>
                </c:pt>
                <c:pt idx="19">
                  <c:v>12395</c:v>
                </c:pt>
                <c:pt idx="20">
                  <c:v>12607</c:v>
                </c:pt>
                <c:pt idx="21">
                  <c:v>12768</c:v>
                </c:pt>
                <c:pt idx="22">
                  <c:v>13876</c:v>
                </c:pt>
                <c:pt idx="23">
                  <c:v>15019</c:v>
                </c:pt>
                <c:pt idx="24">
                  <c:v>16184</c:v>
                </c:pt>
                <c:pt idx="25">
                  <c:v>17295</c:v>
                </c:pt>
                <c:pt idx="26">
                  <c:v>18094</c:v>
                </c:pt>
                <c:pt idx="27">
                  <c:v>18303</c:v>
                </c:pt>
                <c:pt idx="28">
                  <c:v>18453</c:v>
                </c:pt>
                <c:pt idx="29">
                  <c:v>19160</c:v>
                </c:pt>
                <c:pt idx="30">
                  <c:v>20181</c:v>
                </c:pt>
                <c:pt idx="31">
                  <c:v>21186</c:v>
                </c:pt>
                <c:pt idx="32">
                  <c:v>22184</c:v>
                </c:pt>
                <c:pt idx="33">
                  <c:v>23404</c:v>
                </c:pt>
                <c:pt idx="34">
                  <c:v>23522</c:v>
                </c:pt>
                <c:pt idx="35">
                  <c:v>23652</c:v>
                </c:pt>
                <c:pt idx="36">
                  <c:v>24692</c:v>
                </c:pt>
                <c:pt idx="37">
                  <c:v>25969</c:v>
                </c:pt>
                <c:pt idx="38">
                  <c:v>27366</c:v>
                </c:pt>
                <c:pt idx="39">
                  <c:v>28913</c:v>
                </c:pt>
                <c:pt idx="40">
                  <c:v>30301</c:v>
                </c:pt>
                <c:pt idx="41">
                  <c:v>30457</c:v>
                </c:pt>
                <c:pt idx="42">
                  <c:v>30581</c:v>
                </c:pt>
                <c:pt idx="43">
                  <c:v>31633</c:v>
                </c:pt>
                <c:pt idx="44">
                  <c:v>32694</c:v>
                </c:pt>
                <c:pt idx="45">
                  <c:v>33869</c:v>
                </c:pt>
                <c:pt idx="46">
                  <c:v>35116</c:v>
                </c:pt>
                <c:pt idx="47">
                  <c:v>36274</c:v>
                </c:pt>
                <c:pt idx="48">
                  <c:v>36459</c:v>
                </c:pt>
                <c:pt idx="49">
                  <c:v>36543</c:v>
                </c:pt>
                <c:pt idx="50">
                  <c:v>37306</c:v>
                </c:pt>
                <c:pt idx="51">
                  <c:v>38096</c:v>
                </c:pt>
                <c:pt idx="52">
                  <c:v>39002</c:v>
                </c:pt>
                <c:pt idx="53">
                  <c:v>39948</c:v>
                </c:pt>
                <c:pt idx="54">
                  <c:v>40852</c:v>
                </c:pt>
                <c:pt idx="55">
                  <c:v>40942</c:v>
                </c:pt>
                <c:pt idx="56">
                  <c:v>40990</c:v>
                </c:pt>
                <c:pt idx="57">
                  <c:v>41666</c:v>
                </c:pt>
                <c:pt idx="58">
                  <c:v>42561</c:v>
                </c:pt>
                <c:pt idx="59">
                  <c:v>43494</c:v>
                </c:pt>
                <c:pt idx="60">
                  <c:v>44562</c:v>
                </c:pt>
                <c:pt idx="61">
                  <c:v>45555</c:v>
                </c:pt>
                <c:pt idx="62">
                  <c:v>45665</c:v>
                </c:pt>
                <c:pt idx="63">
                  <c:v>45827</c:v>
                </c:pt>
                <c:pt idx="64">
                  <c:v>47012</c:v>
                </c:pt>
                <c:pt idx="65">
                  <c:v>48806</c:v>
                </c:pt>
                <c:pt idx="66">
                  <c:v>50742</c:v>
                </c:pt>
                <c:pt idx="67">
                  <c:v>52480</c:v>
                </c:pt>
                <c:pt idx="68">
                  <c:v>54152</c:v>
                </c:pt>
                <c:pt idx="69">
                  <c:v>54898</c:v>
                </c:pt>
                <c:pt idx="70">
                  <c:v>55644</c:v>
                </c:pt>
                <c:pt idx="71">
                  <c:v>57284</c:v>
                </c:pt>
                <c:pt idx="72">
                  <c:v>59590</c:v>
                </c:pt>
                <c:pt idx="73">
                  <c:v>61458</c:v>
                </c:pt>
                <c:pt idx="74">
                  <c:v>63646</c:v>
                </c:pt>
                <c:pt idx="75">
                  <c:v>65663</c:v>
                </c:pt>
                <c:pt idx="76">
                  <c:v>66434</c:v>
                </c:pt>
                <c:pt idx="77">
                  <c:v>67053</c:v>
                </c:pt>
                <c:pt idx="78">
                  <c:v>68436</c:v>
                </c:pt>
                <c:pt idx="79">
                  <c:v>70734</c:v>
                </c:pt>
                <c:pt idx="80">
                  <c:v>72773</c:v>
                </c:pt>
                <c:pt idx="81">
                  <c:v>74905</c:v>
                </c:pt>
                <c:pt idx="82">
                  <c:v>77158</c:v>
                </c:pt>
                <c:pt idx="83">
                  <c:v>78159</c:v>
                </c:pt>
                <c:pt idx="84">
                  <c:v>78580</c:v>
                </c:pt>
                <c:pt idx="85">
                  <c:v>80324</c:v>
                </c:pt>
                <c:pt idx="86">
                  <c:v>82120</c:v>
                </c:pt>
                <c:pt idx="87">
                  <c:v>83951</c:v>
                </c:pt>
                <c:pt idx="88">
                  <c:v>85727</c:v>
                </c:pt>
                <c:pt idx="89">
                  <c:v>87852</c:v>
                </c:pt>
                <c:pt idx="90">
                  <c:v>88361</c:v>
                </c:pt>
                <c:pt idx="91">
                  <c:v>88841</c:v>
                </c:pt>
                <c:pt idx="92">
                  <c:v>90557</c:v>
                </c:pt>
                <c:pt idx="93">
                  <c:v>92944</c:v>
                </c:pt>
                <c:pt idx="94">
                  <c:v>95103</c:v>
                </c:pt>
                <c:pt idx="95">
                  <c:v>97632</c:v>
                </c:pt>
                <c:pt idx="96">
                  <c:v>98538</c:v>
                </c:pt>
                <c:pt idx="97">
                  <c:v>99238</c:v>
                </c:pt>
                <c:pt idx="98">
                  <c:v>99803</c:v>
                </c:pt>
                <c:pt idx="99">
                  <c:v>100319</c:v>
                </c:pt>
                <c:pt idx="100">
                  <c:v>102563</c:v>
                </c:pt>
                <c:pt idx="101">
                  <c:v>104754</c:v>
                </c:pt>
                <c:pt idx="102">
                  <c:v>107453</c:v>
                </c:pt>
                <c:pt idx="103">
                  <c:v>110642</c:v>
                </c:pt>
                <c:pt idx="104">
                  <c:v>111914</c:v>
                </c:pt>
                <c:pt idx="105">
                  <c:v>112802</c:v>
                </c:pt>
                <c:pt idx="106">
                  <c:v>115432</c:v>
                </c:pt>
                <c:pt idx="107">
                  <c:v>118553</c:v>
                </c:pt>
                <c:pt idx="108">
                  <c:v>121541</c:v>
                </c:pt>
                <c:pt idx="109">
                  <c:v>124692</c:v>
                </c:pt>
                <c:pt idx="110">
                  <c:v>128694</c:v>
                </c:pt>
                <c:pt idx="111">
                  <c:v>130515</c:v>
                </c:pt>
                <c:pt idx="112">
                  <c:v>131377</c:v>
                </c:pt>
                <c:pt idx="113">
                  <c:v>134348</c:v>
                </c:pt>
                <c:pt idx="114">
                  <c:v>137073</c:v>
                </c:pt>
                <c:pt idx="115">
                  <c:v>139783</c:v>
                </c:pt>
                <c:pt idx="116">
                  <c:v>142926</c:v>
                </c:pt>
                <c:pt idx="117">
                  <c:v>146261</c:v>
                </c:pt>
                <c:pt idx="118">
                  <c:v>147165</c:v>
                </c:pt>
                <c:pt idx="119">
                  <c:v>147873</c:v>
                </c:pt>
                <c:pt idx="120">
                  <c:v>149619</c:v>
                </c:pt>
                <c:pt idx="121">
                  <c:v>151615</c:v>
                </c:pt>
                <c:pt idx="122">
                  <c:v>154064</c:v>
                </c:pt>
                <c:pt idx="123">
                  <c:v>156630</c:v>
                </c:pt>
                <c:pt idx="124">
                  <c:v>159453</c:v>
                </c:pt>
                <c:pt idx="125">
                  <c:v>160259</c:v>
                </c:pt>
                <c:pt idx="126">
                  <c:v>160982</c:v>
                </c:pt>
                <c:pt idx="127">
                  <c:v>163280</c:v>
                </c:pt>
                <c:pt idx="128">
                  <c:v>165962</c:v>
                </c:pt>
                <c:pt idx="129">
                  <c:v>169784</c:v>
                </c:pt>
                <c:pt idx="130">
                  <c:v>179621</c:v>
                </c:pt>
                <c:pt idx="131">
                  <c:v>191705</c:v>
                </c:pt>
                <c:pt idx="132">
                  <c:v>199146</c:v>
                </c:pt>
                <c:pt idx="133">
                  <c:v>205531</c:v>
                </c:pt>
                <c:pt idx="134">
                  <c:v>228514</c:v>
                </c:pt>
                <c:pt idx="135">
                  <c:v>251780</c:v>
                </c:pt>
                <c:pt idx="136">
                  <c:v>277693</c:v>
                </c:pt>
                <c:pt idx="137">
                  <c:v>300392</c:v>
                </c:pt>
                <c:pt idx="138">
                  <c:v>322739</c:v>
                </c:pt>
                <c:pt idx="139">
                  <c:v>330654</c:v>
                </c:pt>
                <c:pt idx="140">
                  <c:v>336644</c:v>
                </c:pt>
                <c:pt idx="141">
                  <c:v>350169</c:v>
                </c:pt>
                <c:pt idx="142">
                  <c:v>363022</c:v>
                </c:pt>
                <c:pt idx="143">
                  <c:v>375065</c:v>
                </c:pt>
                <c:pt idx="144">
                  <c:v>385958</c:v>
                </c:pt>
                <c:pt idx="145">
                  <c:v>397089</c:v>
                </c:pt>
                <c:pt idx="146">
                  <c:v>401312</c:v>
                </c:pt>
                <c:pt idx="147">
                  <c:v>404564</c:v>
                </c:pt>
                <c:pt idx="148">
                  <c:v>410509</c:v>
                </c:pt>
                <c:pt idx="149">
                  <c:v>416916</c:v>
                </c:pt>
                <c:pt idx="150">
                  <c:v>424956</c:v>
                </c:pt>
                <c:pt idx="151">
                  <c:v>432578</c:v>
                </c:pt>
                <c:pt idx="152">
                  <c:v>440957</c:v>
                </c:pt>
                <c:pt idx="153">
                  <c:v>444596</c:v>
                </c:pt>
                <c:pt idx="154">
                  <c:v>447338</c:v>
                </c:pt>
                <c:pt idx="155">
                  <c:v>453595</c:v>
                </c:pt>
                <c:pt idx="156">
                  <c:v>459802</c:v>
                </c:pt>
                <c:pt idx="157">
                  <c:v>466030</c:v>
                </c:pt>
                <c:pt idx="158">
                  <c:v>472027</c:v>
                </c:pt>
                <c:pt idx="159">
                  <c:v>478941</c:v>
                </c:pt>
                <c:pt idx="160">
                  <c:v>481428</c:v>
                </c:pt>
                <c:pt idx="161">
                  <c:v>483118</c:v>
                </c:pt>
                <c:pt idx="162">
                  <c:v>487989</c:v>
                </c:pt>
                <c:pt idx="163">
                  <c:v>492790</c:v>
                </c:pt>
                <c:pt idx="164">
                  <c:v>497607</c:v>
                </c:pt>
                <c:pt idx="165">
                  <c:v>501942</c:v>
                </c:pt>
                <c:pt idx="166">
                  <c:v>507136</c:v>
                </c:pt>
                <c:pt idx="167">
                  <c:v>509143</c:v>
                </c:pt>
                <c:pt idx="168">
                  <c:v>510425</c:v>
                </c:pt>
                <c:pt idx="169">
                  <c:v>514665</c:v>
                </c:pt>
                <c:pt idx="170">
                  <c:v>519065</c:v>
                </c:pt>
                <c:pt idx="171">
                  <c:v>524224</c:v>
                </c:pt>
                <c:pt idx="172">
                  <c:v>534589</c:v>
                </c:pt>
                <c:pt idx="173">
                  <c:v>547248</c:v>
                </c:pt>
                <c:pt idx="174">
                  <c:v>554866</c:v>
                </c:pt>
                <c:pt idx="175">
                  <c:v>5610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231-4689-8D01-AE220FE5DCEE}"/>
            </c:ext>
          </c:extLst>
        </c:ser>
        <c:ser>
          <c:idx val="7"/>
          <c:order val="7"/>
          <c:tx>
            <c:strRef>
              <c:f>List1!$A$9</c:f>
              <c:strCache>
                <c:ptCount val="1"/>
                <c:pt idx="0">
                  <c:v>45–49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strRef>
              <c:f>List1!$B$1:$FU$1</c:f>
              <c:strCache>
                <c:ptCount val="176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</c:strCache>
            </c:strRef>
          </c:cat>
          <c:val>
            <c:numRef>
              <c:f>List1!$B$9:$FU$9</c:f>
              <c:numCache>
                <c:formatCode>General</c:formatCode>
                <c:ptCount val="176"/>
                <c:pt idx="0">
                  <c:v>132</c:v>
                </c:pt>
                <c:pt idx="1">
                  <c:v>407</c:v>
                </c:pt>
                <c:pt idx="2">
                  <c:v>788</c:v>
                </c:pt>
                <c:pt idx="3">
                  <c:v>1159</c:v>
                </c:pt>
                <c:pt idx="4">
                  <c:v>1290</c:v>
                </c:pt>
                <c:pt idx="5">
                  <c:v>1323</c:v>
                </c:pt>
                <c:pt idx="6">
                  <c:v>1480</c:v>
                </c:pt>
                <c:pt idx="7">
                  <c:v>1596</c:v>
                </c:pt>
                <c:pt idx="8">
                  <c:v>2068</c:v>
                </c:pt>
                <c:pt idx="9">
                  <c:v>2626</c:v>
                </c:pt>
                <c:pt idx="10">
                  <c:v>3372</c:v>
                </c:pt>
                <c:pt idx="11">
                  <c:v>4310</c:v>
                </c:pt>
                <c:pt idx="12">
                  <c:v>5492</c:v>
                </c:pt>
                <c:pt idx="13">
                  <c:v>5703</c:v>
                </c:pt>
                <c:pt idx="14">
                  <c:v>5897</c:v>
                </c:pt>
                <c:pt idx="15">
                  <c:v>7074</c:v>
                </c:pt>
                <c:pt idx="16">
                  <c:v>8572</c:v>
                </c:pt>
                <c:pt idx="17">
                  <c:v>9960</c:v>
                </c:pt>
                <c:pt idx="18">
                  <c:v>11454</c:v>
                </c:pt>
                <c:pt idx="19">
                  <c:v>12761</c:v>
                </c:pt>
                <c:pt idx="20">
                  <c:v>12917</c:v>
                </c:pt>
                <c:pt idx="21">
                  <c:v>13072</c:v>
                </c:pt>
                <c:pt idx="22">
                  <c:v>14130</c:v>
                </c:pt>
                <c:pt idx="23">
                  <c:v>15253</c:v>
                </c:pt>
                <c:pt idx="24">
                  <c:v>16323</c:v>
                </c:pt>
                <c:pt idx="25">
                  <c:v>17314</c:v>
                </c:pt>
                <c:pt idx="26">
                  <c:v>18103</c:v>
                </c:pt>
                <c:pt idx="27">
                  <c:v>18276</c:v>
                </c:pt>
                <c:pt idx="28">
                  <c:v>18420</c:v>
                </c:pt>
                <c:pt idx="29">
                  <c:v>19207</c:v>
                </c:pt>
                <c:pt idx="30">
                  <c:v>20136</c:v>
                </c:pt>
                <c:pt idx="31">
                  <c:v>21115</c:v>
                </c:pt>
                <c:pt idx="32">
                  <c:v>22154</c:v>
                </c:pt>
                <c:pt idx="33">
                  <c:v>23443</c:v>
                </c:pt>
                <c:pt idx="34">
                  <c:v>23583</c:v>
                </c:pt>
                <c:pt idx="35">
                  <c:v>23705</c:v>
                </c:pt>
                <c:pt idx="36">
                  <c:v>24766</c:v>
                </c:pt>
                <c:pt idx="37">
                  <c:v>26175</c:v>
                </c:pt>
                <c:pt idx="38">
                  <c:v>27604</c:v>
                </c:pt>
                <c:pt idx="39">
                  <c:v>29132</c:v>
                </c:pt>
                <c:pt idx="40">
                  <c:v>30432</c:v>
                </c:pt>
                <c:pt idx="41">
                  <c:v>30574</c:v>
                </c:pt>
                <c:pt idx="42">
                  <c:v>30706</c:v>
                </c:pt>
                <c:pt idx="43">
                  <c:v>31778</c:v>
                </c:pt>
                <c:pt idx="44">
                  <c:v>32861</c:v>
                </c:pt>
                <c:pt idx="45">
                  <c:v>33991</c:v>
                </c:pt>
                <c:pt idx="46">
                  <c:v>35240</c:v>
                </c:pt>
                <c:pt idx="47">
                  <c:v>36329</c:v>
                </c:pt>
                <c:pt idx="48">
                  <c:v>36472</c:v>
                </c:pt>
                <c:pt idx="49">
                  <c:v>36518</c:v>
                </c:pt>
                <c:pt idx="50">
                  <c:v>37242</c:v>
                </c:pt>
                <c:pt idx="51">
                  <c:v>37915</c:v>
                </c:pt>
                <c:pt idx="52">
                  <c:v>38688</c:v>
                </c:pt>
                <c:pt idx="53">
                  <c:v>39544</c:v>
                </c:pt>
                <c:pt idx="54">
                  <c:v>40371</c:v>
                </c:pt>
                <c:pt idx="55">
                  <c:v>40471</c:v>
                </c:pt>
                <c:pt idx="56">
                  <c:v>40538</c:v>
                </c:pt>
                <c:pt idx="57">
                  <c:v>41107</c:v>
                </c:pt>
                <c:pt idx="58">
                  <c:v>41910</c:v>
                </c:pt>
                <c:pt idx="59">
                  <c:v>42756</c:v>
                </c:pt>
                <c:pt idx="60">
                  <c:v>43826</c:v>
                </c:pt>
                <c:pt idx="61">
                  <c:v>44771</c:v>
                </c:pt>
                <c:pt idx="62">
                  <c:v>44882</c:v>
                </c:pt>
                <c:pt idx="63">
                  <c:v>45007</c:v>
                </c:pt>
                <c:pt idx="64">
                  <c:v>46150</c:v>
                </c:pt>
                <c:pt idx="65">
                  <c:v>47701</c:v>
                </c:pt>
                <c:pt idx="66">
                  <c:v>49505</c:v>
                </c:pt>
                <c:pt idx="67">
                  <c:v>51130</c:v>
                </c:pt>
                <c:pt idx="68">
                  <c:v>52625</c:v>
                </c:pt>
                <c:pt idx="69">
                  <c:v>53156</c:v>
                </c:pt>
                <c:pt idx="70">
                  <c:v>53773</c:v>
                </c:pt>
                <c:pt idx="71">
                  <c:v>55138</c:v>
                </c:pt>
                <c:pt idx="72">
                  <c:v>57086</c:v>
                </c:pt>
                <c:pt idx="73">
                  <c:v>58675</c:v>
                </c:pt>
                <c:pt idx="74">
                  <c:v>60670</c:v>
                </c:pt>
                <c:pt idx="75">
                  <c:v>62595</c:v>
                </c:pt>
                <c:pt idx="76">
                  <c:v>63395</c:v>
                </c:pt>
                <c:pt idx="77">
                  <c:v>63853</c:v>
                </c:pt>
                <c:pt idx="78">
                  <c:v>65158</c:v>
                </c:pt>
                <c:pt idx="79">
                  <c:v>67074</c:v>
                </c:pt>
                <c:pt idx="80">
                  <c:v>68763</c:v>
                </c:pt>
                <c:pt idx="81">
                  <c:v>70445</c:v>
                </c:pt>
                <c:pt idx="82">
                  <c:v>72335</c:v>
                </c:pt>
                <c:pt idx="83">
                  <c:v>72872</c:v>
                </c:pt>
                <c:pt idx="84">
                  <c:v>73170</c:v>
                </c:pt>
                <c:pt idx="85">
                  <c:v>74654</c:v>
                </c:pt>
                <c:pt idx="86">
                  <c:v>76214</c:v>
                </c:pt>
                <c:pt idx="87">
                  <c:v>77932</c:v>
                </c:pt>
                <c:pt idx="88">
                  <c:v>79725</c:v>
                </c:pt>
                <c:pt idx="89">
                  <c:v>81740</c:v>
                </c:pt>
                <c:pt idx="90">
                  <c:v>82126</c:v>
                </c:pt>
                <c:pt idx="91">
                  <c:v>82624</c:v>
                </c:pt>
                <c:pt idx="92">
                  <c:v>84298</c:v>
                </c:pt>
                <c:pt idx="93">
                  <c:v>86635</c:v>
                </c:pt>
                <c:pt idx="94">
                  <c:v>88721</c:v>
                </c:pt>
                <c:pt idx="95">
                  <c:v>91009</c:v>
                </c:pt>
                <c:pt idx="96">
                  <c:v>91755</c:v>
                </c:pt>
                <c:pt idx="97">
                  <c:v>92391</c:v>
                </c:pt>
                <c:pt idx="98">
                  <c:v>92915</c:v>
                </c:pt>
                <c:pt idx="99">
                  <c:v>93250</c:v>
                </c:pt>
                <c:pt idx="100">
                  <c:v>95172</c:v>
                </c:pt>
                <c:pt idx="101">
                  <c:v>97044</c:v>
                </c:pt>
                <c:pt idx="102">
                  <c:v>99457</c:v>
                </c:pt>
                <c:pt idx="103">
                  <c:v>102604</c:v>
                </c:pt>
                <c:pt idx="104">
                  <c:v>103867</c:v>
                </c:pt>
                <c:pt idx="105">
                  <c:v>104605</c:v>
                </c:pt>
                <c:pt idx="106">
                  <c:v>106906</c:v>
                </c:pt>
                <c:pt idx="107">
                  <c:v>109554</c:v>
                </c:pt>
                <c:pt idx="108">
                  <c:v>112148</c:v>
                </c:pt>
                <c:pt idx="109">
                  <c:v>114986</c:v>
                </c:pt>
                <c:pt idx="110">
                  <c:v>119047</c:v>
                </c:pt>
                <c:pt idx="111">
                  <c:v>120339</c:v>
                </c:pt>
                <c:pt idx="112">
                  <c:v>121206</c:v>
                </c:pt>
                <c:pt idx="113">
                  <c:v>123735</c:v>
                </c:pt>
                <c:pt idx="114">
                  <c:v>126194</c:v>
                </c:pt>
                <c:pt idx="115">
                  <c:v>128711</c:v>
                </c:pt>
                <c:pt idx="116">
                  <c:v>131482</c:v>
                </c:pt>
                <c:pt idx="117">
                  <c:v>134357</c:v>
                </c:pt>
                <c:pt idx="118">
                  <c:v>135369</c:v>
                </c:pt>
                <c:pt idx="119">
                  <c:v>136230</c:v>
                </c:pt>
                <c:pt idx="120">
                  <c:v>137910</c:v>
                </c:pt>
                <c:pt idx="121">
                  <c:v>139904</c:v>
                </c:pt>
                <c:pt idx="122">
                  <c:v>142110</c:v>
                </c:pt>
                <c:pt idx="123">
                  <c:v>144463</c:v>
                </c:pt>
                <c:pt idx="124">
                  <c:v>147051</c:v>
                </c:pt>
                <c:pt idx="125">
                  <c:v>147727</c:v>
                </c:pt>
                <c:pt idx="126">
                  <c:v>148328</c:v>
                </c:pt>
                <c:pt idx="127">
                  <c:v>150307</c:v>
                </c:pt>
                <c:pt idx="128">
                  <c:v>152548</c:v>
                </c:pt>
                <c:pt idx="129">
                  <c:v>155056</c:v>
                </c:pt>
                <c:pt idx="130">
                  <c:v>158106</c:v>
                </c:pt>
                <c:pt idx="131">
                  <c:v>161467</c:v>
                </c:pt>
                <c:pt idx="132">
                  <c:v>162539</c:v>
                </c:pt>
                <c:pt idx="133">
                  <c:v>163296</c:v>
                </c:pt>
                <c:pt idx="134">
                  <c:v>165654</c:v>
                </c:pt>
                <c:pt idx="135">
                  <c:v>169587</c:v>
                </c:pt>
                <c:pt idx="136">
                  <c:v>178713</c:v>
                </c:pt>
                <c:pt idx="137">
                  <c:v>195375</c:v>
                </c:pt>
                <c:pt idx="138">
                  <c:v>212261</c:v>
                </c:pt>
                <c:pt idx="139">
                  <c:v>220570</c:v>
                </c:pt>
                <c:pt idx="140">
                  <c:v>227492</c:v>
                </c:pt>
                <c:pt idx="141">
                  <c:v>253518</c:v>
                </c:pt>
                <c:pt idx="142">
                  <c:v>276260</c:v>
                </c:pt>
                <c:pt idx="143">
                  <c:v>299325</c:v>
                </c:pt>
                <c:pt idx="144">
                  <c:v>319188</c:v>
                </c:pt>
                <c:pt idx="145">
                  <c:v>339496</c:v>
                </c:pt>
                <c:pt idx="146">
                  <c:v>348628</c:v>
                </c:pt>
                <c:pt idx="147">
                  <c:v>355136</c:v>
                </c:pt>
                <c:pt idx="148">
                  <c:v>366861</c:v>
                </c:pt>
                <c:pt idx="149">
                  <c:v>377471</c:v>
                </c:pt>
                <c:pt idx="150">
                  <c:v>389983</c:v>
                </c:pt>
                <c:pt idx="151">
                  <c:v>400685</c:v>
                </c:pt>
                <c:pt idx="152">
                  <c:v>412958</c:v>
                </c:pt>
                <c:pt idx="153">
                  <c:v>418230</c:v>
                </c:pt>
                <c:pt idx="154">
                  <c:v>422697</c:v>
                </c:pt>
                <c:pt idx="155">
                  <c:v>431185</c:v>
                </c:pt>
                <c:pt idx="156">
                  <c:v>439477</c:v>
                </c:pt>
                <c:pt idx="157">
                  <c:v>447659</c:v>
                </c:pt>
                <c:pt idx="158">
                  <c:v>455231</c:v>
                </c:pt>
                <c:pt idx="159">
                  <c:v>464243</c:v>
                </c:pt>
                <c:pt idx="160">
                  <c:v>468022</c:v>
                </c:pt>
                <c:pt idx="161">
                  <c:v>470451</c:v>
                </c:pt>
                <c:pt idx="162">
                  <c:v>476566</c:v>
                </c:pt>
                <c:pt idx="163">
                  <c:v>482294</c:v>
                </c:pt>
                <c:pt idx="164">
                  <c:v>487712</c:v>
                </c:pt>
                <c:pt idx="165">
                  <c:v>492785</c:v>
                </c:pt>
                <c:pt idx="166">
                  <c:v>498740</c:v>
                </c:pt>
                <c:pt idx="167">
                  <c:v>501480</c:v>
                </c:pt>
                <c:pt idx="168">
                  <c:v>503056</c:v>
                </c:pt>
                <c:pt idx="169">
                  <c:v>507386</c:v>
                </c:pt>
                <c:pt idx="170">
                  <c:v>511793</c:v>
                </c:pt>
                <c:pt idx="171">
                  <c:v>516330</c:v>
                </c:pt>
                <c:pt idx="172">
                  <c:v>521147</c:v>
                </c:pt>
                <c:pt idx="173">
                  <c:v>526573</c:v>
                </c:pt>
                <c:pt idx="174">
                  <c:v>528755</c:v>
                </c:pt>
                <c:pt idx="175">
                  <c:v>530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38-475B-B3D5-6E0B100F1F34}"/>
            </c:ext>
          </c:extLst>
        </c:ser>
        <c:ser>
          <c:idx val="8"/>
          <c:order val="8"/>
          <c:tx>
            <c:strRef>
              <c:f>List1!$A$10</c:f>
              <c:strCache>
                <c:ptCount val="1"/>
                <c:pt idx="0">
                  <c:v>&lt;30</c:v>
                </c:pt>
              </c:strCache>
            </c:strRef>
          </c:tx>
          <c:spPr>
            <a:ln w="28575" cap="rnd">
              <a:solidFill>
                <a:srgbClr val="FFFFFF">
                  <a:lumMod val="75000"/>
                </a:srgbClr>
              </a:solidFill>
              <a:round/>
            </a:ln>
            <a:effectLst/>
          </c:spPr>
          <c:marker>
            <c:symbol val="none"/>
          </c:marker>
          <c:cat>
            <c:strRef>
              <c:f>List1!$B$1:$FU$1</c:f>
              <c:strCache>
                <c:ptCount val="176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</c:strCache>
            </c:strRef>
          </c:cat>
          <c:val>
            <c:numRef>
              <c:f>List1!$B$10:$FU$10</c:f>
              <c:numCache>
                <c:formatCode>General</c:formatCode>
                <c:ptCount val="176"/>
                <c:pt idx="0">
                  <c:v>160</c:v>
                </c:pt>
                <c:pt idx="1">
                  <c:v>426</c:v>
                </c:pt>
                <c:pt idx="2">
                  <c:v>833</c:v>
                </c:pt>
                <c:pt idx="3">
                  <c:v>1251</c:v>
                </c:pt>
                <c:pt idx="4">
                  <c:v>1404</c:v>
                </c:pt>
                <c:pt idx="5">
                  <c:v>1425</c:v>
                </c:pt>
                <c:pt idx="6">
                  <c:v>1579</c:v>
                </c:pt>
                <c:pt idx="7">
                  <c:v>1681</c:v>
                </c:pt>
                <c:pt idx="8">
                  <c:v>2040</c:v>
                </c:pt>
                <c:pt idx="9">
                  <c:v>2527</c:v>
                </c:pt>
                <c:pt idx="10">
                  <c:v>3158</c:v>
                </c:pt>
                <c:pt idx="11">
                  <c:v>4015</c:v>
                </c:pt>
                <c:pt idx="12">
                  <c:v>4991</c:v>
                </c:pt>
                <c:pt idx="13">
                  <c:v>5143</c:v>
                </c:pt>
                <c:pt idx="14">
                  <c:v>5294</c:v>
                </c:pt>
                <c:pt idx="15">
                  <c:v>6346</c:v>
                </c:pt>
                <c:pt idx="16">
                  <c:v>7482</c:v>
                </c:pt>
                <c:pt idx="17">
                  <c:v>8511</c:v>
                </c:pt>
                <c:pt idx="18">
                  <c:v>9621</c:v>
                </c:pt>
                <c:pt idx="19">
                  <c:v>10620</c:v>
                </c:pt>
                <c:pt idx="20">
                  <c:v>10758</c:v>
                </c:pt>
                <c:pt idx="21">
                  <c:v>10948</c:v>
                </c:pt>
                <c:pt idx="22">
                  <c:v>11739</c:v>
                </c:pt>
                <c:pt idx="23">
                  <c:v>12485</c:v>
                </c:pt>
                <c:pt idx="24">
                  <c:v>13272</c:v>
                </c:pt>
                <c:pt idx="25">
                  <c:v>13994</c:v>
                </c:pt>
                <c:pt idx="26">
                  <c:v>14565</c:v>
                </c:pt>
                <c:pt idx="27">
                  <c:v>14718</c:v>
                </c:pt>
                <c:pt idx="28">
                  <c:v>14842</c:v>
                </c:pt>
                <c:pt idx="29">
                  <c:v>15492</c:v>
                </c:pt>
                <c:pt idx="30">
                  <c:v>16302</c:v>
                </c:pt>
                <c:pt idx="31">
                  <c:v>17094</c:v>
                </c:pt>
                <c:pt idx="32">
                  <c:v>17979</c:v>
                </c:pt>
                <c:pt idx="33">
                  <c:v>18912</c:v>
                </c:pt>
                <c:pt idx="34">
                  <c:v>19012</c:v>
                </c:pt>
                <c:pt idx="35">
                  <c:v>19128</c:v>
                </c:pt>
                <c:pt idx="36">
                  <c:v>20091</c:v>
                </c:pt>
                <c:pt idx="37">
                  <c:v>21169</c:v>
                </c:pt>
                <c:pt idx="38">
                  <c:v>22193</c:v>
                </c:pt>
                <c:pt idx="39">
                  <c:v>23377</c:v>
                </c:pt>
                <c:pt idx="40">
                  <c:v>24385</c:v>
                </c:pt>
                <c:pt idx="41">
                  <c:v>24504</c:v>
                </c:pt>
                <c:pt idx="42">
                  <c:v>24644</c:v>
                </c:pt>
                <c:pt idx="43">
                  <c:v>25477</c:v>
                </c:pt>
                <c:pt idx="44">
                  <c:v>26190</c:v>
                </c:pt>
                <c:pt idx="45">
                  <c:v>26890</c:v>
                </c:pt>
                <c:pt idx="46">
                  <c:v>27702</c:v>
                </c:pt>
                <c:pt idx="47">
                  <c:v>28484</c:v>
                </c:pt>
                <c:pt idx="48">
                  <c:v>28627</c:v>
                </c:pt>
                <c:pt idx="49">
                  <c:v>28663</c:v>
                </c:pt>
                <c:pt idx="50">
                  <c:v>29269</c:v>
                </c:pt>
                <c:pt idx="51">
                  <c:v>29958</c:v>
                </c:pt>
                <c:pt idx="52">
                  <c:v>30643</c:v>
                </c:pt>
                <c:pt idx="53">
                  <c:v>31261</c:v>
                </c:pt>
                <c:pt idx="54">
                  <c:v>31970</c:v>
                </c:pt>
                <c:pt idx="55">
                  <c:v>32059</c:v>
                </c:pt>
                <c:pt idx="56">
                  <c:v>32082</c:v>
                </c:pt>
                <c:pt idx="57">
                  <c:v>32691</c:v>
                </c:pt>
                <c:pt idx="58">
                  <c:v>33405</c:v>
                </c:pt>
                <c:pt idx="59">
                  <c:v>34162</c:v>
                </c:pt>
                <c:pt idx="60">
                  <c:v>35035</c:v>
                </c:pt>
                <c:pt idx="61">
                  <c:v>35949</c:v>
                </c:pt>
                <c:pt idx="62">
                  <c:v>36091</c:v>
                </c:pt>
                <c:pt idx="63">
                  <c:v>36191</c:v>
                </c:pt>
                <c:pt idx="64">
                  <c:v>36958</c:v>
                </c:pt>
                <c:pt idx="65">
                  <c:v>37893</c:v>
                </c:pt>
                <c:pt idx="66">
                  <c:v>38949</c:v>
                </c:pt>
                <c:pt idx="67">
                  <c:v>39806</c:v>
                </c:pt>
                <c:pt idx="68">
                  <c:v>40756</c:v>
                </c:pt>
                <c:pt idx="69">
                  <c:v>41110</c:v>
                </c:pt>
                <c:pt idx="70">
                  <c:v>41492</c:v>
                </c:pt>
                <c:pt idx="71">
                  <c:v>42370</c:v>
                </c:pt>
                <c:pt idx="72">
                  <c:v>43507</c:v>
                </c:pt>
                <c:pt idx="73">
                  <c:v>44890</c:v>
                </c:pt>
                <c:pt idx="74">
                  <c:v>46447</c:v>
                </c:pt>
                <c:pt idx="75">
                  <c:v>47912</c:v>
                </c:pt>
                <c:pt idx="76">
                  <c:v>48347</c:v>
                </c:pt>
                <c:pt idx="77">
                  <c:v>48713</c:v>
                </c:pt>
                <c:pt idx="78">
                  <c:v>49976</c:v>
                </c:pt>
                <c:pt idx="79">
                  <c:v>51392</c:v>
                </c:pt>
                <c:pt idx="80">
                  <c:v>52773</c:v>
                </c:pt>
                <c:pt idx="81">
                  <c:v>54082</c:v>
                </c:pt>
                <c:pt idx="82">
                  <c:v>55724</c:v>
                </c:pt>
                <c:pt idx="83">
                  <c:v>56289</c:v>
                </c:pt>
                <c:pt idx="84">
                  <c:v>56571</c:v>
                </c:pt>
                <c:pt idx="85">
                  <c:v>57561</c:v>
                </c:pt>
                <c:pt idx="86">
                  <c:v>58769</c:v>
                </c:pt>
                <c:pt idx="87">
                  <c:v>59997</c:v>
                </c:pt>
                <c:pt idx="88">
                  <c:v>61285</c:v>
                </c:pt>
                <c:pt idx="89">
                  <c:v>62879</c:v>
                </c:pt>
                <c:pt idx="90">
                  <c:v>63242</c:v>
                </c:pt>
                <c:pt idx="91">
                  <c:v>63527</c:v>
                </c:pt>
                <c:pt idx="92">
                  <c:v>64599</c:v>
                </c:pt>
                <c:pt idx="93">
                  <c:v>66048</c:v>
                </c:pt>
                <c:pt idx="94">
                  <c:v>67702</c:v>
                </c:pt>
                <c:pt idx="95">
                  <c:v>69549</c:v>
                </c:pt>
                <c:pt idx="96">
                  <c:v>70103</c:v>
                </c:pt>
                <c:pt idx="97">
                  <c:v>70596</c:v>
                </c:pt>
                <c:pt idx="98">
                  <c:v>70895</c:v>
                </c:pt>
                <c:pt idx="99">
                  <c:v>71177</c:v>
                </c:pt>
                <c:pt idx="100">
                  <c:v>72794</c:v>
                </c:pt>
                <c:pt idx="101">
                  <c:v>74077</c:v>
                </c:pt>
                <c:pt idx="102">
                  <c:v>76015</c:v>
                </c:pt>
                <c:pt idx="103">
                  <c:v>78514</c:v>
                </c:pt>
                <c:pt idx="104">
                  <c:v>79357</c:v>
                </c:pt>
                <c:pt idx="105">
                  <c:v>79958</c:v>
                </c:pt>
                <c:pt idx="106">
                  <c:v>81424</c:v>
                </c:pt>
                <c:pt idx="107">
                  <c:v>82929</c:v>
                </c:pt>
                <c:pt idx="108">
                  <c:v>84418</c:v>
                </c:pt>
                <c:pt idx="109">
                  <c:v>86401</c:v>
                </c:pt>
                <c:pt idx="110">
                  <c:v>88704</c:v>
                </c:pt>
                <c:pt idx="111">
                  <c:v>89596</c:v>
                </c:pt>
                <c:pt idx="112">
                  <c:v>90336</c:v>
                </c:pt>
                <c:pt idx="113">
                  <c:v>92132</c:v>
                </c:pt>
                <c:pt idx="114">
                  <c:v>93773</c:v>
                </c:pt>
                <c:pt idx="115">
                  <c:v>95508</c:v>
                </c:pt>
                <c:pt idx="116">
                  <c:v>97665</c:v>
                </c:pt>
                <c:pt idx="117">
                  <c:v>100228</c:v>
                </c:pt>
                <c:pt idx="118">
                  <c:v>101231</c:v>
                </c:pt>
                <c:pt idx="119">
                  <c:v>101826</c:v>
                </c:pt>
                <c:pt idx="120">
                  <c:v>103251</c:v>
                </c:pt>
                <c:pt idx="121">
                  <c:v>104580</c:v>
                </c:pt>
                <c:pt idx="122">
                  <c:v>106180</c:v>
                </c:pt>
                <c:pt idx="123">
                  <c:v>107841</c:v>
                </c:pt>
                <c:pt idx="124">
                  <c:v>109840</c:v>
                </c:pt>
                <c:pt idx="125">
                  <c:v>110324</c:v>
                </c:pt>
                <c:pt idx="126">
                  <c:v>110817</c:v>
                </c:pt>
                <c:pt idx="127">
                  <c:v>112107</c:v>
                </c:pt>
                <c:pt idx="128">
                  <c:v>113506</c:v>
                </c:pt>
                <c:pt idx="129">
                  <c:v>115157</c:v>
                </c:pt>
                <c:pt idx="130">
                  <c:v>116947</c:v>
                </c:pt>
                <c:pt idx="131">
                  <c:v>119290</c:v>
                </c:pt>
                <c:pt idx="132">
                  <c:v>120098</c:v>
                </c:pt>
                <c:pt idx="133">
                  <c:v>120734</c:v>
                </c:pt>
                <c:pt idx="134">
                  <c:v>122395</c:v>
                </c:pt>
                <c:pt idx="135">
                  <c:v>124168</c:v>
                </c:pt>
                <c:pt idx="136">
                  <c:v>125939</c:v>
                </c:pt>
                <c:pt idx="137">
                  <c:v>128018</c:v>
                </c:pt>
                <c:pt idx="138">
                  <c:v>130020</c:v>
                </c:pt>
                <c:pt idx="139">
                  <c:v>131084</c:v>
                </c:pt>
                <c:pt idx="140">
                  <c:v>131707</c:v>
                </c:pt>
                <c:pt idx="141">
                  <c:v>133215</c:v>
                </c:pt>
                <c:pt idx="142">
                  <c:v>134999</c:v>
                </c:pt>
                <c:pt idx="143">
                  <c:v>136785</c:v>
                </c:pt>
                <c:pt idx="144">
                  <c:v>139168</c:v>
                </c:pt>
                <c:pt idx="145">
                  <c:v>141782</c:v>
                </c:pt>
                <c:pt idx="146">
                  <c:v>142757</c:v>
                </c:pt>
                <c:pt idx="147">
                  <c:v>143530</c:v>
                </c:pt>
                <c:pt idx="148">
                  <c:v>145411</c:v>
                </c:pt>
                <c:pt idx="149">
                  <c:v>147435</c:v>
                </c:pt>
                <c:pt idx="150">
                  <c:v>150014</c:v>
                </c:pt>
                <c:pt idx="151">
                  <c:v>152907</c:v>
                </c:pt>
                <c:pt idx="152">
                  <c:v>156273</c:v>
                </c:pt>
                <c:pt idx="153">
                  <c:v>157567</c:v>
                </c:pt>
                <c:pt idx="154">
                  <c:v>158599</c:v>
                </c:pt>
                <c:pt idx="155">
                  <c:v>161479</c:v>
                </c:pt>
                <c:pt idx="156">
                  <c:v>164573</c:v>
                </c:pt>
                <c:pt idx="157">
                  <c:v>167985</c:v>
                </c:pt>
                <c:pt idx="158">
                  <c:v>171691</c:v>
                </c:pt>
                <c:pt idx="159">
                  <c:v>178479</c:v>
                </c:pt>
                <c:pt idx="160">
                  <c:v>182672</c:v>
                </c:pt>
                <c:pt idx="161">
                  <c:v>187116</c:v>
                </c:pt>
                <c:pt idx="162">
                  <c:v>197439</c:v>
                </c:pt>
                <c:pt idx="163">
                  <c:v>211172</c:v>
                </c:pt>
                <c:pt idx="164">
                  <c:v>225694</c:v>
                </c:pt>
                <c:pt idx="165">
                  <c:v>241147</c:v>
                </c:pt>
                <c:pt idx="166">
                  <c:v>255792</c:v>
                </c:pt>
                <c:pt idx="167">
                  <c:v>265634</c:v>
                </c:pt>
                <c:pt idx="168">
                  <c:v>275321</c:v>
                </c:pt>
                <c:pt idx="169">
                  <c:v>291054</c:v>
                </c:pt>
                <c:pt idx="170">
                  <c:v>309603</c:v>
                </c:pt>
                <c:pt idx="171">
                  <c:v>329235</c:v>
                </c:pt>
                <c:pt idx="172">
                  <c:v>347981</c:v>
                </c:pt>
                <c:pt idx="173">
                  <c:v>367963</c:v>
                </c:pt>
                <c:pt idx="174">
                  <c:v>379838</c:v>
                </c:pt>
                <c:pt idx="175">
                  <c:v>3903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87-472F-A228-842E61EA8DB2}"/>
            </c:ext>
          </c:extLst>
        </c:ser>
        <c:ser>
          <c:idx val="9"/>
          <c:order val="9"/>
          <c:tx>
            <c:strRef>
              <c:f>List1!$A$11</c:f>
              <c:strCache>
                <c:ptCount val="1"/>
                <c:pt idx="0">
                  <c:v>35–39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B$1:$FU$1</c:f>
              <c:strCache>
                <c:ptCount val="176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</c:strCache>
            </c:strRef>
          </c:cat>
          <c:val>
            <c:numRef>
              <c:f>List1!$B$11:$FU$11</c:f>
              <c:numCache>
                <c:formatCode>General</c:formatCode>
                <c:ptCount val="176"/>
                <c:pt idx="0">
                  <c:v>94</c:v>
                </c:pt>
                <c:pt idx="1">
                  <c:v>259</c:v>
                </c:pt>
                <c:pt idx="2">
                  <c:v>515</c:v>
                </c:pt>
                <c:pt idx="3">
                  <c:v>763</c:v>
                </c:pt>
                <c:pt idx="4">
                  <c:v>854</c:v>
                </c:pt>
                <c:pt idx="5">
                  <c:v>874</c:v>
                </c:pt>
                <c:pt idx="6">
                  <c:v>974</c:v>
                </c:pt>
                <c:pt idx="7">
                  <c:v>1038</c:v>
                </c:pt>
                <c:pt idx="8">
                  <c:v>1320</c:v>
                </c:pt>
                <c:pt idx="9">
                  <c:v>1690</c:v>
                </c:pt>
                <c:pt idx="10">
                  <c:v>2121</c:v>
                </c:pt>
                <c:pt idx="11">
                  <c:v>2691</c:v>
                </c:pt>
                <c:pt idx="12">
                  <c:v>3364</c:v>
                </c:pt>
                <c:pt idx="13">
                  <c:v>3509</c:v>
                </c:pt>
                <c:pt idx="14">
                  <c:v>3622</c:v>
                </c:pt>
                <c:pt idx="15">
                  <c:v>4296</c:v>
                </c:pt>
                <c:pt idx="16">
                  <c:v>5187</c:v>
                </c:pt>
                <c:pt idx="17">
                  <c:v>6055</c:v>
                </c:pt>
                <c:pt idx="18">
                  <c:v>6915</c:v>
                </c:pt>
                <c:pt idx="19">
                  <c:v>7667</c:v>
                </c:pt>
                <c:pt idx="20">
                  <c:v>7763</c:v>
                </c:pt>
                <c:pt idx="21">
                  <c:v>7855</c:v>
                </c:pt>
                <c:pt idx="22">
                  <c:v>8471</c:v>
                </c:pt>
                <c:pt idx="23">
                  <c:v>9028</c:v>
                </c:pt>
                <c:pt idx="24">
                  <c:v>9623</c:v>
                </c:pt>
                <c:pt idx="25">
                  <c:v>10156</c:v>
                </c:pt>
                <c:pt idx="26">
                  <c:v>10584</c:v>
                </c:pt>
                <c:pt idx="27">
                  <c:v>10686</c:v>
                </c:pt>
                <c:pt idx="28">
                  <c:v>10760</c:v>
                </c:pt>
                <c:pt idx="29">
                  <c:v>11210</c:v>
                </c:pt>
                <c:pt idx="30">
                  <c:v>11760</c:v>
                </c:pt>
                <c:pt idx="31">
                  <c:v>12321</c:v>
                </c:pt>
                <c:pt idx="32">
                  <c:v>13009</c:v>
                </c:pt>
                <c:pt idx="33">
                  <c:v>13658</c:v>
                </c:pt>
                <c:pt idx="34">
                  <c:v>13727</c:v>
                </c:pt>
                <c:pt idx="35">
                  <c:v>13815</c:v>
                </c:pt>
                <c:pt idx="36">
                  <c:v>14430</c:v>
                </c:pt>
                <c:pt idx="37">
                  <c:v>15256</c:v>
                </c:pt>
                <c:pt idx="38">
                  <c:v>16087</c:v>
                </c:pt>
                <c:pt idx="39">
                  <c:v>16990</c:v>
                </c:pt>
                <c:pt idx="40">
                  <c:v>17729</c:v>
                </c:pt>
                <c:pt idx="41">
                  <c:v>17815</c:v>
                </c:pt>
                <c:pt idx="42">
                  <c:v>17883</c:v>
                </c:pt>
                <c:pt idx="43">
                  <c:v>18505</c:v>
                </c:pt>
                <c:pt idx="44">
                  <c:v>19065</c:v>
                </c:pt>
                <c:pt idx="45">
                  <c:v>19646</c:v>
                </c:pt>
                <c:pt idx="46">
                  <c:v>20316</c:v>
                </c:pt>
                <c:pt idx="47">
                  <c:v>20873</c:v>
                </c:pt>
                <c:pt idx="48">
                  <c:v>20942</c:v>
                </c:pt>
                <c:pt idx="49">
                  <c:v>20971</c:v>
                </c:pt>
                <c:pt idx="50">
                  <c:v>21384</c:v>
                </c:pt>
                <c:pt idx="51">
                  <c:v>21775</c:v>
                </c:pt>
                <c:pt idx="52">
                  <c:v>22204</c:v>
                </c:pt>
                <c:pt idx="53">
                  <c:v>22687</c:v>
                </c:pt>
                <c:pt idx="54">
                  <c:v>23159</c:v>
                </c:pt>
                <c:pt idx="55">
                  <c:v>23218</c:v>
                </c:pt>
                <c:pt idx="56">
                  <c:v>23236</c:v>
                </c:pt>
                <c:pt idx="57">
                  <c:v>23571</c:v>
                </c:pt>
                <c:pt idx="58">
                  <c:v>24096</c:v>
                </c:pt>
                <c:pt idx="59">
                  <c:v>24563</c:v>
                </c:pt>
                <c:pt idx="60">
                  <c:v>25204</c:v>
                </c:pt>
                <c:pt idx="61">
                  <c:v>25741</c:v>
                </c:pt>
                <c:pt idx="62">
                  <c:v>25805</c:v>
                </c:pt>
                <c:pt idx="63">
                  <c:v>25850</c:v>
                </c:pt>
                <c:pt idx="64">
                  <c:v>26505</c:v>
                </c:pt>
                <c:pt idx="65">
                  <c:v>27277</c:v>
                </c:pt>
                <c:pt idx="66">
                  <c:v>28135</c:v>
                </c:pt>
                <c:pt idx="67">
                  <c:v>28951</c:v>
                </c:pt>
                <c:pt idx="68">
                  <c:v>29699</c:v>
                </c:pt>
                <c:pt idx="69">
                  <c:v>29981</c:v>
                </c:pt>
                <c:pt idx="70">
                  <c:v>30259</c:v>
                </c:pt>
                <c:pt idx="71">
                  <c:v>30984</c:v>
                </c:pt>
                <c:pt idx="72">
                  <c:v>31825</c:v>
                </c:pt>
                <c:pt idx="73">
                  <c:v>32800</c:v>
                </c:pt>
                <c:pt idx="74">
                  <c:v>33876</c:v>
                </c:pt>
                <c:pt idx="75">
                  <c:v>34830</c:v>
                </c:pt>
                <c:pt idx="76">
                  <c:v>35125</c:v>
                </c:pt>
                <c:pt idx="77">
                  <c:v>35348</c:v>
                </c:pt>
                <c:pt idx="78">
                  <c:v>36027</c:v>
                </c:pt>
                <c:pt idx="79">
                  <c:v>36978</c:v>
                </c:pt>
                <c:pt idx="80">
                  <c:v>37861</c:v>
                </c:pt>
                <c:pt idx="81">
                  <c:v>38808</c:v>
                </c:pt>
                <c:pt idx="82">
                  <c:v>39880</c:v>
                </c:pt>
                <c:pt idx="83">
                  <c:v>40209</c:v>
                </c:pt>
                <c:pt idx="84">
                  <c:v>40342</c:v>
                </c:pt>
                <c:pt idx="85">
                  <c:v>41027</c:v>
                </c:pt>
                <c:pt idx="86">
                  <c:v>41835</c:v>
                </c:pt>
                <c:pt idx="87">
                  <c:v>42654</c:v>
                </c:pt>
                <c:pt idx="88">
                  <c:v>43532</c:v>
                </c:pt>
                <c:pt idx="89">
                  <c:v>44675</c:v>
                </c:pt>
                <c:pt idx="90">
                  <c:v>44949</c:v>
                </c:pt>
                <c:pt idx="91">
                  <c:v>45161</c:v>
                </c:pt>
                <c:pt idx="92">
                  <c:v>46035</c:v>
                </c:pt>
                <c:pt idx="93">
                  <c:v>47019</c:v>
                </c:pt>
                <c:pt idx="94">
                  <c:v>48124</c:v>
                </c:pt>
                <c:pt idx="95">
                  <c:v>49447</c:v>
                </c:pt>
                <c:pt idx="96">
                  <c:v>49860</c:v>
                </c:pt>
                <c:pt idx="97">
                  <c:v>50193</c:v>
                </c:pt>
                <c:pt idx="98">
                  <c:v>50414</c:v>
                </c:pt>
                <c:pt idx="99">
                  <c:v>50614</c:v>
                </c:pt>
                <c:pt idx="100">
                  <c:v>51583</c:v>
                </c:pt>
                <c:pt idx="101">
                  <c:v>52428</c:v>
                </c:pt>
                <c:pt idx="102">
                  <c:v>53833</c:v>
                </c:pt>
                <c:pt idx="103">
                  <c:v>55432</c:v>
                </c:pt>
                <c:pt idx="104">
                  <c:v>56276</c:v>
                </c:pt>
                <c:pt idx="105">
                  <c:v>56640</c:v>
                </c:pt>
                <c:pt idx="106">
                  <c:v>57749</c:v>
                </c:pt>
                <c:pt idx="107">
                  <c:v>58942</c:v>
                </c:pt>
                <c:pt idx="108">
                  <c:v>60084</c:v>
                </c:pt>
                <c:pt idx="109">
                  <c:v>61487</c:v>
                </c:pt>
                <c:pt idx="110">
                  <c:v>63438</c:v>
                </c:pt>
                <c:pt idx="111">
                  <c:v>64272</c:v>
                </c:pt>
                <c:pt idx="112">
                  <c:v>64883</c:v>
                </c:pt>
                <c:pt idx="113">
                  <c:v>66258</c:v>
                </c:pt>
                <c:pt idx="114">
                  <c:v>67529</c:v>
                </c:pt>
                <c:pt idx="115">
                  <c:v>68839</c:v>
                </c:pt>
                <c:pt idx="116">
                  <c:v>70291</c:v>
                </c:pt>
                <c:pt idx="117">
                  <c:v>72175</c:v>
                </c:pt>
                <c:pt idx="118">
                  <c:v>72669</c:v>
                </c:pt>
                <c:pt idx="119">
                  <c:v>73037</c:v>
                </c:pt>
                <c:pt idx="120">
                  <c:v>74034</c:v>
                </c:pt>
                <c:pt idx="121">
                  <c:v>74961</c:v>
                </c:pt>
                <c:pt idx="122">
                  <c:v>76057</c:v>
                </c:pt>
                <c:pt idx="123">
                  <c:v>77415</c:v>
                </c:pt>
                <c:pt idx="124">
                  <c:v>78825</c:v>
                </c:pt>
                <c:pt idx="125">
                  <c:v>79191</c:v>
                </c:pt>
                <c:pt idx="126">
                  <c:v>79508</c:v>
                </c:pt>
                <c:pt idx="127">
                  <c:v>80469</c:v>
                </c:pt>
                <c:pt idx="128">
                  <c:v>81558</c:v>
                </c:pt>
                <c:pt idx="129">
                  <c:v>82840</c:v>
                </c:pt>
                <c:pt idx="130">
                  <c:v>84299</c:v>
                </c:pt>
                <c:pt idx="131">
                  <c:v>85991</c:v>
                </c:pt>
                <c:pt idx="132">
                  <c:v>86602</c:v>
                </c:pt>
                <c:pt idx="133">
                  <c:v>87030</c:v>
                </c:pt>
                <c:pt idx="134">
                  <c:v>88421</c:v>
                </c:pt>
                <c:pt idx="135">
                  <c:v>89780</c:v>
                </c:pt>
                <c:pt idx="136">
                  <c:v>90978</c:v>
                </c:pt>
                <c:pt idx="137">
                  <c:v>92371</c:v>
                </c:pt>
                <c:pt idx="138">
                  <c:v>93698</c:v>
                </c:pt>
                <c:pt idx="139">
                  <c:v>94247</c:v>
                </c:pt>
                <c:pt idx="140">
                  <c:v>94604</c:v>
                </c:pt>
                <c:pt idx="141">
                  <c:v>95615</c:v>
                </c:pt>
                <c:pt idx="142">
                  <c:v>96795</c:v>
                </c:pt>
                <c:pt idx="143">
                  <c:v>98049</c:v>
                </c:pt>
                <c:pt idx="144">
                  <c:v>99540</c:v>
                </c:pt>
                <c:pt idx="145">
                  <c:v>101299</c:v>
                </c:pt>
                <c:pt idx="146">
                  <c:v>101901</c:v>
                </c:pt>
                <c:pt idx="147">
                  <c:v>102350</c:v>
                </c:pt>
                <c:pt idx="148">
                  <c:v>104333</c:v>
                </c:pt>
                <c:pt idx="149">
                  <c:v>108982</c:v>
                </c:pt>
                <c:pt idx="150">
                  <c:v>116534</c:v>
                </c:pt>
                <c:pt idx="151">
                  <c:v>125193</c:v>
                </c:pt>
                <c:pt idx="152">
                  <c:v>133925</c:v>
                </c:pt>
                <c:pt idx="153">
                  <c:v>137514</c:v>
                </c:pt>
                <c:pt idx="154">
                  <c:v>139805</c:v>
                </c:pt>
                <c:pt idx="155">
                  <c:v>149248</c:v>
                </c:pt>
                <c:pt idx="156">
                  <c:v>159496</c:v>
                </c:pt>
                <c:pt idx="157">
                  <c:v>171762</c:v>
                </c:pt>
                <c:pt idx="158">
                  <c:v>184132</c:v>
                </c:pt>
                <c:pt idx="159">
                  <c:v>196608</c:v>
                </c:pt>
                <c:pt idx="160">
                  <c:v>204409</c:v>
                </c:pt>
                <c:pt idx="161">
                  <c:v>209508</c:v>
                </c:pt>
                <c:pt idx="162">
                  <c:v>221889</c:v>
                </c:pt>
                <c:pt idx="163">
                  <c:v>231102</c:v>
                </c:pt>
                <c:pt idx="164">
                  <c:v>238593</c:v>
                </c:pt>
                <c:pt idx="165">
                  <c:v>245235</c:v>
                </c:pt>
                <c:pt idx="166">
                  <c:v>252938</c:v>
                </c:pt>
                <c:pt idx="167">
                  <c:v>257231</c:v>
                </c:pt>
                <c:pt idx="168">
                  <c:v>260698</c:v>
                </c:pt>
                <c:pt idx="169">
                  <c:v>266658</c:v>
                </c:pt>
                <c:pt idx="170">
                  <c:v>272167</c:v>
                </c:pt>
                <c:pt idx="171">
                  <c:v>277106</c:v>
                </c:pt>
                <c:pt idx="172">
                  <c:v>282057</c:v>
                </c:pt>
                <c:pt idx="173">
                  <c:v>287157</c:v>
                </c:pt>
                <c:pt idx="174">
                  <c:v>289745</c:v>
                </c:pt>
                <c:pt idx="175">
                  <c:v>2913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911-4592-A267-E0FEEF560F48}"/>
            </c:ext>
          </c:extLst>
        </c:ser>
        <c:ser>
          <c:idx val="10"/>
          <c:order val="10"/>
          <c:tx>
            <c:strRef>
              <c:f>List1!$A$12</c:f>
              <c:strCache>
                <c:ptCount val="1"/>
                <c:pt idx="0">
                  <c:v>30–34</c:v>
                </c:pt>
              </c:strCache>
            </c:strRef>
          </c:tx>
          <c:spPr>
            <a:ln w="28575" cap="rnd">
              <a:solidFill>
                <a:srgbClr val="CC99FF"/>
              </a:solidFill>
              <a:round/>
            </a:ln>
            <a:effectLst/>
          </c:spPr>
          <c:marker>
            <c:symbol val="none"/>
          </c:marker>
          <c:cat>
            <c:strRef>
              <c:f>List1!$B$1:$FU$1</c:f>
              <c:strCache>
                <c:ptCount val="176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  <c:pt idx="169">
                  <c:v>14-VI.</c:v>
                </c:pt>
                <c:pt idx="170">
                  <c:v>15-VI.</c:v>
                </c:pt>
                <c:pt idx="171">
                  <c:v>16-VI.</c:v>
                </c:pt>
                <c:pt idx="172">
                  <c:v>17-VI.</c:v>
                </c:pt>
                <c:pt idx="173">
                  <c:v>18-VI.</c:v>
                </c:pt>
                <c:pt idx="174">
                  <c:v>19-VI.</c:v>
                </c:pt>
                <c:pt idx="175">
                  <c:v>20-VI.</c:v>
                </c:pt>
              </c:strCache>
            </c:strRef>
          </c:cat>
          <c:val>
            <c:numRef>
              <c:f>List1!$B$12:$FU$12</c:f>
              <c:numCache>
                <c:formatCode>General</c:formatCode>
                <c:ptCount val="176"/>
                <c:pt idx="0">
                  <c:v>109</c:v>
                </c:pt>
                <c:pt idx="1">
                  <c:v>333</c:v>
                </c:pt>
                <c:pt idx="2">
                  <c:v>611</c:v>
                </c:pt>
                <c:pt idx="3">
                  <c:v>869</c:v>
                </c:pt>
                <c:pt idx="4">
                  <c:v>978</c:v>
                </c:pt>
                <c:pt idx="5">
                  <c:v>995</c:v>
                </c:pt>
                <c:pt idx="6">
                  <c:v>1098</c:v>
                </c:pt>
                <c:pt idx="7">
                  <c:v>1183</c:v>
                </c:pt>
                <c:pt idx="8">
                  <c:v>1472</c:v>
                </c:pt>
                <c:pt idx="9">
                  <c:v>1836</c:v>
                </c:pt>
                <c:pt idx="10">
                  <c:v>2277</c:v>
                </c:pt>
                <c:pt idx="11">
                  <c:v>2842</c:v>
                </c:pt>
                <c:pt idx="12">
                  <c:v>3506</c:v>
                </c:pt>
                <c:pt idx="13">
                  <c:v>3616</c:v>
                </c:pt>
                <c:pt idx="14">
                  <c:v>3726</c:v>
                </c:pt>
                <c:pt idx="15">
                  <c:v>4391</c:v>
                </c:pt>
                <c:pt idx="16">
                  <c:v>5221</c:v>
                </c:pt>
                <c:pt idx="17">
                  <c:v>5987</c:v>
                </c:pt>
                <c:pt idx="18">
                  <c:v>6762</c:v>
                </c:pt>
                <c:pt idx="19">
                  <c:v>7467</c:v>
                </c:pt>
                <c:pt idx="20">
                  <c:v>7555</c:v>
                </c:pt>
                <c:pt idx="21">
                  <c:v>7677</c:v>
                </c:pt>
                <c:pt idx="22">
                  <c:v>8291</c:v>
                </c:pt>
                <c:pt idx="23">
                  <c:v>8850</c:v>
                </c:pt>
                <c:pt idx="24">
                  <c:v>9388</c:v>
                </c:pt>
                <c:pt idx="25">
                  <c:v>9877</c:v>
                </c:pt>
                <c:pt idx="26">
                  <c:v>10259</c:v>
                </c:pt>
                <c:pt idx="27">
                  <c:v>10355</c:v>
                </c:pt>
                <c:pt idx="28">
                  <c:v>10449</c:v>
                </c:pt>
                <c:pt idx="29">
                  <c:v>10901</c:v>
                </c:pt>
                <c:pt idx="30">
                  <c:v>11436</c:v>
                </c:pt>
                <c:pt idx="31">
                  <c:v>11978</c:v>
                </c:pt>
                <c:pt idx="32">
                  <c:v>12562</c:v>
                </c:pt>
                <c:pt idx="33">
                  <c:v>13212</c:v>
                </c:pt>
                <c:pt idx="34">
                  <c:v>13280</c:v>
                </c:pt>
                <c:pt idx="35">
                  <c:v>13365</c:v>
                </c:pt>
                <c:pt idx="36">
                  <c:v>13996</c:v>
                </c:pt>
                <c:pt idx="37">
                  <c:v>14716</c:v>
                </c:pt>
                <c:pt idx="38">
                  <c:v>15482</c:v>
                </c:pt>
                <c:pt idx="39">
                  <c:v>16316</c:v>
                </c:pt>
                <c:pt idx="40">
                  <c:v>16994</c:v>
                </c:pt>
                <c:pt idx="41">
                  <c:v>17087</c:v>
                </c:pt>
                <c:pt idx="42">
                  <c:v>17164</c:v>
                </c:pt>
                <c:pt idx="43">
                  <c:v>17743</c:v>
                </c:pt>
                <c:pt idx="44">
                  <c:v>18309</c:v>
                </c:pt>
                <c:pt idx="45">
                  <c:v>18801</c:v>
                </c:pt>
                <c:pt idx="46">
                  <c:v>19354</c:v>
                </c:pt>
                <c:pt idx="47">
                  <c:v>19864</c:v>
                </c:pt>
                <c:pt idx="48">
                  <c:v>19938</c:v>
                </c:pt>
                <c:pt idx="49">
                  <c:v>19962</c:v>
                </c:pt>
                <c:pt idx="50">
                  <c:v>20382</c:v>
                </c:pt>
                <c:pt idx="51">
                  <c:v>20739</c:v>
                </c:pt>
                <c:pt idx="52">
                  <c:v>21151</c:v>
                </c:pt>
                <c:pt idx="53">
                  <c:v>21595</c:v>
                </c:pt>
                <c:pt idx="54">
                  <c:v>22019</c:v>
                </c:pt>
                <c:pt idx="55">
                  <c:v>22079</c:v>
                </c:pt>
                <c:pt idx="56">
                  <c:v>22102</c:v>
                </c:pt>
                <c:pt idx="57">
                  <c:v>22521</c:v>
                </c:pt>
                <c:pt idx="58">
                  <c:v>23012</c:v>
                </c:pt>
                <c:pt idx="59">
                  <c:v>23552</c:v>
                </c:pt>
                <c:pt idx="60">
                  <c:v>24155</c:v>
                </c:pt>
                <c:pt idx="61">
                  <c:v>24726</c:v>
                </c:pt>
                <c:pt idx="62">
                  <c:v>24807</c:v>
                </c:pt>
                <c:pt idx="63">
                  <c:v>24882</c:v>
                </c:pt>
                <c:pt idx="64">
                  <c:v>25486</c:v>
                </c:pt>
                <c:pt idx="65">
                  <c:v>26179</c:v>
                </c:pt>
                <c:pt idx="66">
                  <c:v>26951</c:v>
                </c:pt>
                <c:pt idx="67">
                  <c:v>27537</c:v>
                </c:pt>
                <c:pt idx="68">
                  <c:v>28243</c:v>
                </c:pt>
                <c:pt idx="69">
                  <c:v>28479</c:v>
                </c:pt>
                <c:pt idx="70">
                  <c:v>28696</c:v>
                </c:pt>
                <c:pt idx="71">
                  <c:v>29350</c:v>
                </c:pt>
                <c:pt idx="72">
                  <c:v>30116</c:v>
                </c:pt>
                <c:pt idx="73">
                  <c:v>30978</c:v>
                </c:pt>
                <c:pt idx="74">
                  <c:v>32019</c:v>
                </c:pt>
                <c:pt idx="75">
                  <c:v>32898</c:v>
                </c:pt>
                <c:pt idx="76">
                  <c:v>33115</c:v>
                </c:pt>
                <c:pt idx="77">
                  <c:v>33307</c:v>
                </c:pt>
                <c:pt idx="78">
                  <c:v>34019</c:v>
                </c:pt>
                <c:pt idx="79">
                  <c:v>34996</c:v>
                </c:pt>
                <c:pt idx="80">
                  <c:v>35895</c:v>
                </c:pt>
                <c:pt idx="81">
                  <c:v>36747</c:v>
                </c:pt>
                <c:pt idx="82">
                  <c:v>37632</c:v>
                </c:pt>
                <c:pt idx="83">
                  <c:v>37934</c:v>
                </c:pt>
                <c:pt idx="84">
                  <c:v>38112</c:v>
                </c:pt>
                <c:pt idx="85">
                  <c:v>38797</c:v>
                </c:pt>
                <c:pt idx="86">
                  <c:v>39542</c:v>
                </c:pt>
                <c:pt idx="87">
                  <c:v>40425</c:v>
                </c:pt>
                <c:pt idx="88">
                  <c:v>41234</c:v>
                </c:pt>
                <c:pt idx="89">
                  <c:v>42295</c:v>
                </c:pt>
                <c:pt idx="90">
                  <c:v>42527</c:v>
                </c:pt>
                <c:pt idx="91">
                  <c:v>42721</c:v>
                </c:pt>
                <c:pt idx="92">
                  <c:v>43517</c:v>
                </c:pt>
                <c:pt idx="93">
                  <c:v>44455</c:v>
                </c:pt>
                <c:pt idx="94">
                  <c:v>45493</c:v>
                </c:pt>
                <c:pt idx="95">
                  <c:v>46729</c:v>
                </c:pt>
                <c:pt idx="96">
                  <c:v>47091</c:v>
                </c:pt>
                <c:pt idx="97">
                  <c:v>47379</c:v>
                </c:pt>
                <c:pt idx="98">
                  <c:v>47565</c:v>
                </c:pt>
                <c:pt idx="99">
                  <c:v>47753</c:v>
                </c:pt>
                <c:pt idx="100">
                  <c:v>48704</c:v>
                </c:pt>
                <c:pt idx="101">
                  <c:v>49559</c:v>
                </c:pt>
                <c:pt idx="102">
                  <c:v>50778</c:v>
                </c:pt>
                <c:pt idx="103">
                  <c:v>52409</c:v>
                </c:pt>
                <c:pt idx="104">
                  <c:v>52956</c:v>
                </c:pt>
                <c:pt idx="105">
                  <c:v>53280</c:v>
                </c:pt>
                <c:pt idx="106">
                  <c:v>54247</c:v>
                </c:pt>
                <c:pt idx="107">
                  <c:v>55354</c:v>
                </c:pt>
                <c:pt idx="108">
                  <c:v>56412</c:v>
                </c:pt>
                <c:pt idx="109">
                  <c:v>57752</c:v>
                </c:pt>
                <c:pt idx="110">
                  <c:v>59360</c:v>
                </c:pt>
                <c:pt idx="111">
                  <c:v>60001</c:v>
                </c:pt>
                <c:pt idx="112">
                  <c:v>60509</c:v>
                </c:pt>
                <c:pt idx="113">
                  <c:v>61679</c:v>
                </c:pt>
                <c:pt idx="114">
                  <c:v>62769</c:v>
                </c:pt>
                <c:pt idx="115">
                  <c:v>64037</c:v>
                </c:pt>
                <c:pt idx="116">
                  <c:v>65442</c:v>
                </c:pt>
                <c:pt idx="117">
                  <c:v>67264</c:v>
                </c:pt>
                <c:pt idx="118">
                  <c:v>67791</c:v>
                </c:pt>
                <c:pt idx="119">
                  <c:v>68237</c:v>
                </c:pt>
                <c:pt idx="120">
                  <c:v>69158</c:v>
                </c:pt>
                <c:pt idx="121">
                  <c:v>70081</c:v>
                </c:pt>
                <c:pt idx="122">
                  <c:v>71195</c:v>
                </c:pt>
                <c:pt idx="123">
                  <c:v>72454</c:v>
                </c:pt>
                <c:pt idx="124">
                  <c:v>73770</c:v>
                </c:pt>
                <c:pt idx="125">
                  <c:v>74089</c:v>
                </c:pt>
                <c:pt idx="126">
                  <c:v>74397</c:v>
                </c:pt>
                <c:pt idx="127">
                  <c:v>75331</c:v>
                </c:pt>
                <c:pt idx="128">
                  <c:v>76361</c:v>
                </c:pt>
                <c:pt idx="129">
                  <c:v>77578</c:v>
                </c:pt>
                <c:pt idx="130">
                  <c:v>78930</c:v>
                </c:pt>
                <c:pt idx="131">
                  <c:v>80642</c:v>
                </c:pt>
                <c:pt idx="132">
                  <c:v>81268</c:v>
                </c:pt>
                <c:pt idx="133">
                  <c:v>81763</c:v>
                </c:pt>
                <c:pt idx="134">
                  <c:v>83019</c:v>
                </c:pt>
                <c:pt idx="135">
                  <c:v>84377</c:v>
                </c:pt>
                <c:pt idx="136">
                  <c:v>85642</c:v>
                </c:pt>
                <c:pt idx="137">
                  <c:v>86954</c:v>
                </c:pt>
                <c:pt idx="138">
                  <c:v>88304</c:v>
                </c:pt>
                <c:pt idx="139">
                  <c:v>88866</c:v>
                </c:pt>
                <c:pt idx="140">
                  <c:v>89263</c:v>
                </c:pt>
                <c:pt idx="141">
                  <c:v>90234</c:v>
                </c:pt>
                <c:pt idx="142">
                  <c:v>91423</c:v>
                </c:pt>
                <c:pt idx="143">
                  <c:v>92650</c:v>
                </c:pt>
                <c:pt idx="144">
                  <c:v>94071</c:v>
                </c:pt>
                <c:pt idx="145">
                  <c:v>95838</c:v>
                </c:pt>
                <c:pt idx="146">
                  <c:v>96412</c:v>
                </c:pt>
                <c:pt idx="147">
                  <c:v>96827</c:v>
                </c:pt>
                <c:pt idx="148">
                  <c:v>98160</c:v>
                </c:pt>
                <c:pt idx="149">
                  <c:v>99477</c:v>
                </c:pt>
                <c:pt idx="150">
                  <c:v>101524</c:v>
                </c:pt>
                <c:pt idx="151">
                  <c:v>104812</c:v>
                </c:pt>
                <c:pt idx="152">
                  <c:v>109079</c:v>
                </c:pt>
                <c:pt idx="153">
                  <c:v>111664</c:v>
                </c:pt>
                <c:pt idx="154">
                  <c:v>113385</c:v>
                </c:pt>
                <c:pt idx="155">
                  <c:v>119777</c:v>
                </c:pt>
                <c:pt idx="156">
                  <c:v>127225</c:v>
                </c:pt>
                <c:pt idx="157">
                  <c:v>136416</c:v>
                </c:pt>
                <c:pt idx="158">
                  <c:v>146729</c:v>
                </c:pt>
                <c:pt idx="159">
                  <c:v>157790</c:v>
                </c:pt>
                <c:pt idx="160">
                  <c:v>164461</c:v>
                </c:pt>
                <c:pt idx="161">
                  <c:v>172352</c:v>
                </c:pt>
                <c:pt idx="162">
                  <c:v>185874</c:v>
                </c:pt>
                <c:pt idx="163">
                  <c:v>200130</c:v>
                </c:pt>
                <c:pt idx="164">
                  <c:v>213490</c:v>
                </c:pt>
                <c:pt idx="165">
                  <c:v>224992</c:v>
                </c:pt>
                <c:pt idx="166">
                  <c:v>236759</c:v>
                </c:pt>
                <c:pt idx="167">
                  <c:v>243385</c:v>
                </c:pt>
                <c:pt idx="168">
                  <c:v>248383</c:v>
                </c:pt>
                <c:pt idx="169">
                  <c:v>257109</c:v>
                </c:pt>
                <c:pt idx="170">
                  <c:v>264275</c:v>
                </c:pt>
                <c:pt idx="171">
                  <c:v>271101</c:v>
                </c:pt>
                <c:pt idx="172">
                  <c:v>276785</c:v>
                </c:pt>
                <c:pt idx="173">
                  <c:v>283008</c:v>
                </c:pt>
                <c:pt idx="174">
                  <c:v>286130</c:v>
                </c:pt>
                <c:pt idx="175">
                  <c:v>2884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11-4592-A267-E0FEEF560F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5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462669612369699"/>
          <c:y val="9.8345988965239925E-2"/>
          <c:w val="6.7641483788482074E-2"/>
          <c:h val="0.772266679956727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 (zjednodušený výpočet) - 7 denní úseky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9B4-4B82-8A69-E8EE655F407B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HA</c:v>
                </c:pt>
                <c:pt idx="1">
                  <c:v>STC</c:v>
                </c:pt>
                <c:pt idx="2">
                  <c:v>HKK</c:v>
                </c:pt>
                <c:pt idx="3">
                  <c:v>MSK</c:v>
                </c:pt>
                <c:pt idx="4">
                  <c:v>ČR</c:v>
                </c:pt>
                <c:pt idx="5">
                  <c:v>PAK</c:v>
                </c:pt>
                <c:pt idx="6">
                  <c:v>VYS</c:v>
                </c:pt>
                <c:pt idx="7">
                  <c:v>ZLK</c:v>
                </c:pt>
                <c:pt idx="8">
                  <c:v>LBK</c:v>
                </c:pt>
                <c:pt idx="9">
                  <c:v>PLK</c:v>
                </c:pt>
                <c:pt idx="10">
                  <c:v>KVK</c:v>
                </c:pt>
                <c:pt idx="11">
                  <c:v>ULK</c:v>
                </c:pt>
                <c:pt idx="12">
                  <c:v>JMK</c:v>
                </c:pt>
                <c:pt idx="13">
                  <c:v>OLK</c:v>
                </c:pt>
                <c:pt idx="14">
                  <c:v>JHC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.139</c:v>
                </c:pt>
                <c:pt idx="1">
                  <c:v>0.91100000000000003</c:v>
                </c:pt>
                <c:pt idx="2">
                  <c:v>0.78900000000000003</c:v>
                </c:pt>
                <c:pt idx="3">
                  <c:v>0.71899999999999997</c:v>
                </c:pt>
                <c:pt idx="4">
                  <c:v>0.71599999999999997</c:v>
                </c:pt>
                <c:pt idx="5">
                  <c:v>0.67600000000000005</c:v>
                </c:pt>
                <c:pt idx="6">
                  <c:v>0.64600000000000002</c:v>
                </c:pt>
                <c:pt idx="7">
                  <c:v>0.64100000000000001</c:v>
                </c:pt>
                <c:pt idx="8">
                  <c:v>0.624</c:v>
                </c:pt>
                <c:pt idx="9">
                  <c:v>0.60699999999999998</c:v>
                </c:pt>
                <c:pt idx="10">
                  <c:v>0.58299999999999996</c:v>
                </c:pt>
                <c:pt idx="11">
                  <c:v>0.58299999999999996</c:v>
                </c:pt>
                <c:pt idx="12">
                  <c:v>0.55400000000000005</c:v>
                </c:pt>
                <c:pt idx="13">
                  <c:v>0.52800000000000002</c:v>
                </c:pt>
                <c:pt idx="14">
                  <c:v>0.5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Hlavní město Praha</c:v>
                </c:pt>
                <c:pt idx="7">
                  <c:v>Zlínský kraj</c:v>
                </c:pt>
                <c:pt idx="8">
                  <c:v>Moravskoslezský kraj</c:v>
                </c:pt>
                <c:pt idx="9">
                  <c:v>Karlovarský kraj</c:v>
                </c:pt>
                <c:pt idx="10">
                  <c:v>Kraj Vysočina</c:v>
                </c:pt>
                <c:pt idx="11">
                  <c:v>Jihomoravský kraj</c:v>
                </c:pt>
                <c:pt idx="12">
                  <c:v>Ústecký kraj</c:v>
                </c:pt>
                <c:pt idx="13">
                  <c:v>Pardubic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16856138100000001</c:v>
                </c:pt>
                <c:pt idx="1">
                  <c:v>0.115306245</c:v>
                </c:pt>
                <c:pt idx="2">
                  <c:v>0.110833125</c:v>
                </c:pt>
                <c:pt idx="3">
                  <c:v>0.14176757400000001</c:v>
                </c:pt>
                <c:pt idx="4">
                  <c:v>0.101296996</c:v>
                </c:pt>
                <c:pt idx="5">
                  <c:v>0.10370486299999999</c:v>
                </c:pt>
                <c:pt idx="6">
                  <c:v>7.0056174999999998E-2</c:v>
                </c:pt>
                <c:pt idx="7">
                  <c:v>9.3798290000000006E-2</c:v>
                </c:pt>
                <c:pt idx="8">
                  <c:v>9.7286258E-2</c:v>
                </c:pt>
                <c:pt idx="9">
                  <c:v>5.5832070999999997E-2</c:v>
                </c:pt>
                <c:pt idx="10">
                  <c:v>0.130100669</c:v>
                </c:pt>
                <c:pt idx="11">
                  <c:v>0.115753015</c:v>
                </c:pt>
                <c:pt idx="12">
                  <c:v>0.112862052</c:v>
                </c:pt>
                <c:pt idx="13">
                  <c:v>0.109859769</c:v>
                </c:pt>
                <c:pt idx="14">
                  <c:v>4.727740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BF-477D-82C7-C81F3163DE12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Hlavní město Praha</c:v>
                </c:pt>
                <c:pt idx="7">
                  <c:v>Zlínský kraj</c:v>
                </c:pt>
                <c:pt idx="8">
                  <c:v>Moravskoslezský kraj</c:v>
                </c:pt>
                <c:pt idx="9">
                  <c:v>Karlovarský kraj</c:v>
                </c:pt>
                <c:pt idx="10">
                  <c:v>Kraj Vysočina</c:v>
                </c:pt>
                <c:pt idx="11">
                  <c:v>Jihomoravský kraj</c:v>
                </c:pt>
                <c:pt idx="12">
                  <c:v>Ústecký kraj</c:v>
                </c:pt>
                <c:pt idx="13">
                  <c:v>Pardubic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8.5080644999999996E-2</c:v>
                </c:pt>
                <c:pt idx="1">
                  <c:v>4.6973297999999997E-2</c:v>
                </c:pt>
                <c:pt idx="2">
                  <c:v>4.4913337999999997E-2</c:v>
                </c:pt>
                <c:pt idx="3">
                  <c:v>5.2436003000000002E-2</c:v>
                </c:pt>
                <c:pt idx="4">
                  <c:v>3.907455E-2</c:v>
                </c:pt>
                <c:pt idx="5">
                  <c:v>4.1625708999999997E-2</c:v>
                </c:pt>
                <c:pt idx="6">
                  <c:v>2.5459952000000001E-2</c:v>
                </c:pt>
                <c:pt idx="7">
                  <c:v>4.0580018000000002E-2</c:v>
                </c:pt>
                <c:pt idx="8">
                  <c:v>4.5490822E-2</c:v>
                </c:pt>
                <c:pt idx="9">
                  <c:v>1.5758754999999999E-2</c:v>
                </c:pt>
                <c:pt idx="10">
                  <c:v>5.9955456999999997E-2</c:v>
                </c:pt>
                <c:pt idx="11">
                  <c:v>5.3228286E-2</c:v>
                </c:pt>
                <c:pt idx="12">
                  <c:v>4.2972435000000003E-2</c:v>
                </c:pt>
                <c:pt idx="13">
                  <c:v>2.9713278999999999E-2</c:v>
                </c:pt>
                <c:pt idx="14">
                  <c:v>1.417183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BF-477D-82C7-C81F3163DE12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Hlavní město Praha</c:v>
                </c:pt>
                <c:pt idx="7">
                  <c:v>Zlínský kraj</c:v>
                </c:pt>
                <c:pt idx="8">
                  <c:v>Moravskoslezský kraj</c:v>
                </c:pt>
                <c:pt idx="9">
                  <c:v>Karlovarský kraj</c:v>
                </c:pt>
                <c:pt idx="10">
                  <c:v>Kraj Vysočina</c:v>
                </c:pt>
                <c:pt idx="11">
                  <c:v>Jihomoravský kraj</c:v>
                </c:pt>
                <c:pt idx="12">
                  <c:v>Ústecký kraj</c:v>
                </c:pt>
                <c:pt idx="13">
                  <c:v>Pardubic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[$-10405]0.0\ %</c:formatCode>
                <c:ptCount val="15"/>
                <c:pt idx="0">
                  <c:v>2.6547673000000001E-2</c:v>
                </c:pt>
                <c:pt idx="1">
                  <c:v>1.7899265000000001E-2</c:v>
                </c:pt>
                <c:pt idx="2">
                  <c:v>2.0776045999999999E-2</c:v>
                </c:pt>
                <c:pt idx="3">
                  <c:v>2.7634817999999998E-2</c:v>
                </c:pt>
                <c:pt idx="4">
                  <c:v>9.4671679999999998E-3</c:v>
                </c:pt>
                <c:pt idx="5">
                  <c:v>1.2446666E-2</c:v>
                </c:pt>
                <c:pt idx="6">
                  <c:v>5.9135289999999998E-3</c:v>
                </c:pt>
                <c:pt idx="7">
                  <c:v>1.4491031999999999E-2</c:v>
                </c:pt>
                <c:pt idx="8">
                  <c:v>1.4195045E-2</c:v>
                </c:pt>
                <c:pt idx="9">
                  <c:v>3.192107E-3</c:v>
                </c:pt>
                <c:pt idx="10">
                  <c:v>1.264874E-2</c:v>
                </c:pt>
                <c:pt idx="11">
                  <c:v>1.6496334000000001E-2</c:v>
                </c:pt>
                <c:pt idx="12">
                  <c:v>1.3453718999999999E-2</c:v>
                </c:pt>
                <c:pt idx="13">
                  <c:v>5.6221580000000004E-3</c:v>
                </c:pt>
                <c:pt idx="14">
                  <c:v>4.716981000000000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7BF-477D-82C7-C81F3163DE12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Hlavní město Praha</c:v>
                </c:pt>
                <c:pt idx="7">
                  <c:v>Zlínský kraj</c:v>
                </c:pt>
                <c:pt idx="8">
                  <c:v>Moravskoslezský kraj</c:v>
                </c:pt>
                <c:pt idx="9">
                  <c:v>Karlovarský kraj</c:v>
                </c:pt>
                <c:pt idx="10">
                  <c:v>Kraj Vysočina</c:v>
                </c:pt>
                <c:pt idx="11">
                  <c:v>Jihomoravský kraj</c:v>
                </c:pt>
                <c:pt idx="12">
                  <c:v>Ústecký kraj</c:v>
                </c:pt>
                <c:pt idx="13">
                  <c:v>Pardubic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.0534999999999999E-2</c:v>
                </c:pt>
                <c:pt idx="1">
                  <c:v>9.2569999999999996E-3</c:v>
                </c:pt>
                <c:pt idx="2">
                  <c:v>6.4920000000000004E-3</c:v>
                </c:pt>
                <c:pt idx="3">
                  <c:v>5.5189999999999996E-3</c:v>
                </c:pt>
                <c:pt idx="4">
                  <c:v>4.2220000000000001E-3</c:v>
                </c:pt>
                <c:pt idx="5">
                  <c:v>3.6129999999999999E-3</c:v>
                </c:pt>
                <c:pt idx="6">
                  <c:v>3.539E-3</c:v>
                </c:pt>
                <c:pt idx="7">
                  <c:v>3.4740000000000001E-3</c:v>
                </c:pt>
                <c:pt idx="8">
                  <c:v>3.3730000000000001E-3</c:v>
                </c:pt>
                <c:pt idx="9">
                  <c:v>3.199E-3</c:v>
                </c:pt>
                <c:pt idx="10">
                  <c:v>3.1779999999999998E-3</c:v>
                </c:pt>
                <c:pt idx="11">
                  <c:v>2.5929999999999998E-3</c:v>
                </c:pt>
                <c:pt idx="12">
                  <c:v>2.4190000000000001E-3</c:v>
                </c:pt>
                <c:pt idx="13">
                  <c:v>1.753E-3</c:v>
                </c:pt>
                <c:pt idx="14">
                  <c:v>1.17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7BF-477D-82C7-C81F3163DE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737-452E-9903-F3F8D3CFFFD0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Hlavní město Praha</c:v>
                </c:pt>
                <c:pt idx="7">
                  <c:v>Zlínský kraj</c:v>
                </c:pt>
                <c:pt idx="8">
                  <c:v>Moravskoslezský kraj</c:v>
                </c:pt>
                <c:pt idx="9">
                  <c:v>Karlovarský kraj</c:v>
                </c:pt>
                <c:pt idx="10">
                  <c:v>Kraj Vysočina</c:v>
                </c:pt>
                <c:pt idx="11">
                  <c:v>Jihomoravský kraj</c:v>
                </c:pt>
                <c:pt idx="12">
                  <c:v>Ústecký kraj</c:v>
                </c:pt>
                <c:pt idx="13">
                  <c:v>Pardubic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.0534999999999999E-2</c:v>
                </c:pt>
                <c:pt idx="1">
                  <c:v>9.2569999999999996E-3</c:v>
                </c:pt>
                <c:pt idx="2">
                  <c:v>6.4920000000000004E-3</c:v>
                </c:pt>
                <c:pt idx="3">
                  <c:v>5.5189999999999996E-3</c:v>
                </c:pt>
                <c:pt idx="4">
                  <c:v>4.2220000000000001E-3</c:v>
                </c:pt>
                <c:pt idx="5">
                  <c:v>3.6129999999999999E-3</c:v>
                </c:pt>
                <c:pt idx="6">
                  <c:v>3.539E-3</c:v>
                </c:pt>
                <c:pt idx="7">
                  <c:v>3.4740000000000001E-3</c:v>
                </c:pt>
                <c:pt idx="8">
                  <c:v>3.3730000000000001E-3</c:v>
                </c:pt>
                <c:pt idx="9">
                  <c:v>3.199E-3</c:v>
                </c:pt>
                <c:pt idx="10">
                  <c:v>3.1779999999999998E-3</c:v>
                </c:pt>
                <c:pt idx="11">
                  <c:v>2.5929999999999998E-3</c:v>
                </c:pt>
                <c:pt idx="12">
                  <c:v>2.4190000000000001E-3</c:v>
                </c:pt>
                <c:pt idx="13">
                  <c:v>1.753E-3</c:v>
                </c:pt>
                <c:pt idx="14">
                  <c:v>1.17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37-452E-9903-F3F8D3CFFF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Hlavní město Praha</c:v>
                </c:pt>
                <c:pt idx="3">
                  <c:v>Plzeňský kraj</c:v>
                </c:pt>
                <c:pt idx="4">
                  <c:v>Zlínský kraj</c:v>
                </c:pt>
                <c:pt idx="5">
                  <c:v>Kraj Vysočina</c:v>
                </c:pt>
                <c:pt idx="6">
                  <c:v>ČR</c:v>
                </c:pt>
                <c:pt idx="7">
                  <c:v>Olomoucký kraj</c:v>
                </c:pt>
                <c:pt idx="8">
                  <c:v>Středočeský kraj</c:v>
                </c:pt>
                <c:pt idx="9">
                  <c:v>Moravskoslezský kraj</c:v>
                </c:pt>
                <c:pt idx="10">
                  <c:v>Ústecký kraj</c:v>
                </c:pt>
                <c:pt idx="11">
                  <c:v>Jihomorav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55.2627</c:v>
                </c:pt>
                <c:pt idx="1">
                  <c:v>201.22730000000001</c:v>
                </c:pt>
                <c:pt idx="2">
                  <c:v>111.3788</c:v>
                </c:pt>
                <c:pt idx="3">
                  <c:v>101.17740000000001</c:v>
                </c:pt>
                <c:pt idx="4">
                  <c:v>213.57689999999999</c:v>
                </c:pt>
                <c:pt idx="5">
                  <c:v>156.23400000000001</c:v>
                </c:pt>
                <c:pt idx="6">
                  <c:v>152.94659999999999</c:v>
                </c:pt>
                <c:pt idx="7">
                  <c:v>203.3236</c:v>
                </c:pt>
                <c:pt idx="8">
                  <c:v>131.6884</c:v>
                </c:pt>
                <c:pt idx="9">
                  <c:v>176.8897</c:v>
                </c:pt>
                <c:pt idx="10">
                  <c:v>202.07980000000001</c:v>
                </c:pt>
                <c:pt idx="11">
                  <c:v>156.19159999999999</c:v>
                </c:pt>
                <c:pt idx="12">
                  <c:v>186.85830000000001</c:v>
                </c:pt>
                <c:pt idx="13">
                  <c:v>60.094079999999998</c:v>
                </c:pt>
                <c:pt idx="14">
                  <c:v>64.43671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D-4C6E-9F7A-BB34FB4B814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Hlavní město Praha</c:v>
                </c:pt>
                <c:pt idx="3">
                  <c:v>Plzeňský kraj</c:v>
                </c:pt>
                <c:pt idx="4">
                  <c:v>Zlínský kraj</c:v>
                </c:pt>
                <c:pt idx="5">
                  <c:v>Kraj Vysočina</c:v>
                </c:pt>
                <c:pt idx="6">
                  <c:v>ČR</c:v>
                </c:pt>
                <c:pt idx="7">
                  <c:v>Olomoucký kraj</c:v>
                </c:pt>
                <c:pt idx="8">
                  <c:v>Středočeský kraj</c:v>
                </c:pt>
                <c:pt idx="9">
                  <c:v>Moravskoslezský kraj</c:v>
                </c:pt>
                <c:pt idx="10">
                  <c:v>Ústecký kraj</c:v>
                </c:pt>
                <c:pt idx="11">
                  <c:v>Jihomorav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50.17221</c:v>
                </c:pt>
                <c:pt idx="1">
                  <c:v>84.530990000000003</c:v>
                </c:pt>
                <c:pt idx="2">
                  <c:v>39.548070000000003</c:v>
                </c:pt>
                <c:pt idx="3">
                  <c:v>29.608779999999999</c:v>
                </c:pt>
                <c:pt idx="4">
                  <c:v>78.94932</c:v>
                </c:pt>
                <c:pt idx="5">
                  <c:v>59.742319999999999</c:v>
                </c:pt>
                <c:pt idx="6">
                  <c:v>52.533329999999999</c:v>
                </c:pt>
                <c:pt idx="7">
                  <c:v>53.130580000000002</c:v>
                </c:pt>
                <c:pt idx="8">
                  <c:v>41.917110000000001</c:v>
                </c:pt>
                <c:pt idx="9">
                  <c:v>71.091200000000001</c:v>
                </c:pt>
                <c:pt idx="10">
                  <c:v>66.829539999999994</c:v>
                </c:pt>
                <c:pt idx="11">
                  <c:v>58.645040000000002</c:v>
                </c:pt>
                <c:pt idx="12">
                  <c:v>42.650370000000002</c:v>
                </c:pt>
                <c:pt idx="13">
                  <c:v>17.065989999999999</c:v>
                </c:pt>
                <c:pt idx="14">
                  <c:v>17.38768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D-4C6E-9F7A-BB34FB4B814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Symptomatičtí pozitivní na 100 000 obyvatel za 7 dní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Hlavní město Praha</c:v>
                </c:pt>
                <c:pt idx="3">
                  <c:v>Plzeňský kraj</c:v>
                </c:pt>
                <c:pt idx="4">
                  <c:v>Zlínský kraj</c:v>
                </c:pt>
                <c:pt idx="5">
                  <c:v>Kraj Vysočina</c:v>
                </c:pt>
                <c:pt idx="6">
                  <c:v>ČR</c:v>
                </c:pt>
                <c:pt idx="7">
                  <c:v>Olomoucký kraj</c:v>
                </c:pt>
                <c:pt idx="8">
                  <c:v>Středočeský kraj</c:v>
                </c:pt>
                <c:pt idx="9">
                  <c:v>Moravskoslezský kraj</c:v>
                </c:pt>
                <c:pt idx="10">
                  <c:v>Ústecký kraj</c:v>
                </c:pt>
                <c:pt idx="11">
                  <c:v>Jihomorav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8.532080000000001</c:v>
                </c:pt>
                <c:pt idx="1">
                  <c:v>20.66658</c:v>
                </c:pt>
                <c:pt idx="2">
                  <c:v>11.75956</c:v>
                </c:pt>
                <c:pt idx="3">
                  <c:v>13.197050000000001</c:v>
                </c:pt>
                <c:pt idx="4">
                  <c:v>28.959579999999999</c:v>
                </c:pt>
                <c:pt idx="5">
                  <c:v>10.80864</c:v>
                </c:pt>
                <c:pt idx="6">
                  <c:v>15.57685</c:v>
                </c:pt>
                <c:pt idx="7">
                  <c:v>24.9</c:v>
                </c:pt>
                <c:pt idx="8">
                  <c:v>10.44351</c:v>
                </c:pt>
                <c:pt idx="9">
                  <c:v>20.706990000000001</c:v>
                </c:pt>
                <c:pt idx="10">
                  <c:v>18.849360000000001</c:v>
                </c:pt>
                <c:pt idx="11">
                  <c:v>17.150120000000001</c:v>
                </c:pt>
                <c:pt idx="12">
                  <c:v>9.1803480000000004</c:v>
                </c:pt>
                <c:pt idx="13">
                  <c:v>5.0834869999999999</c:v>
                </c:pt>
                <c:pt idx="14">
                  <c:v>2.386544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D-4C6E-9F7A-BB34FB4B8147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Hlavní město Praha</c:v>
                </c:pt>
                <c:pt idx="3">
                  <c:v>Plzeňský kraj</c:v>
                </c:pt>
                <c:pt idx="4">
                  <c:v>Zlínský kraj</c:v>
                </c:pt>
                <c:pt idx="5">
                  <c:v>Kraj Vysočina</c:v>
                </c:pt>
                <c:pt idx="6">
                  <c:v>ČR</c:v>
                </c:pt>
                <c:pt idx="7">
                  <c:v>Olomoucký kraj</c:v>
                </c:pt>
                <c:pt idx="8">
                  <c:v>Středočeský kraj</c:v>
                </c:pt>
                <c:pt idx="9">
                  <c:v>Moravskoslezský kraj</c:v>
                </c:pt>
                <c:pt idx="10">
                  <c:v>Ústecký kraj</c:v>
                </c:pt>
                <c:pt idx="11">
                  <c:v>Jihomoravský kraj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6.3280269999999996</c:v>
                </c:pt>
                <c:pt idx="1">
                  <c:v>6.0601260000000003</c:v>
                </c:pt>
                <c:pt idx="2">
                  <c:v>4.9435089999999997</c:v>
                </c:pt>
                <c:pt idx="3">
                  <c:v>4.060632</c:v>
                </c:pt>
                <c:pt idx="4">
                  <c:v>3.9647039999999998</c:v>
                </c:pt>
                <c:pt idx="5">
                  <c:v>3.5373739999999998</c:v>
                </c:pt>
                <c:pt idx="6">
                  <c:v>3.4013040000000001</c:v>
                </c:pt>
                <c:pt idx="7">
                  <c:v>3.1719750000000002</c:v>
                </c:pt>
                <c:pt idx="8">
                  <c:v>2.9327670000000001</c:v>
                </c:pt>
                <c:pt idx="9">
                  <c:v>2.766521</c:v>
                </c:pt>
                <c:pt idx="10">
                  <c:v>2.6927650000000001</c:v>
                </c:pt>
                <c:pt idx="11">
                  <c:v>2.5934330000000001</c:v>
                </c:pt>
                <c:pt idx="12">
                  <c:v>1.7213149999999999</c:v>
                </c:pt>
                <c:pt idx="13">
                  <c:v>1.270872</c:v>
                </c:pt>
                <c:pt idx="14">
                  <c:v>1.0228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5AA-41EA-9F16-8BB4B107D4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97348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70074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2050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34077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46027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52875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64968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123698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12920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642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104205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45500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79914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54140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494523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136076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430081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468001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16259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83778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7539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18203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594481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14583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041387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8115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1.png"/><Relationship Id="rId5" Type="http://schemas.openxmlformats.org/officeDocument/2006/relationships/image" Target="../media/image4.svg"/><Relationship Id="rId4" Type="http://schemas.openxmlformats.org/officeDocument/2006/relationships/image" Target="../media/image10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1.png"/><Relationship Id="rId5" Type="http://schemas.openxmlformats.org/officeDocument/2006/relationships/image" Target="../media/image4.svg"/><Relationship Id="rId4" Type="http://schemas.openxmlformats.org/officeDocument/2006/relationships/image" Target="../media/image10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1.png"/><Relationship Id="rId5" Type="http://schemas.openxmlformats.org/officeDocument/2006/relationships/image" Target="../media/image4.svg"/><Relationship Id="rId4" Type="http://schemas.openxmlformats.org/officeDocument/2006/relationships/image" Target="../media/image10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1.png"/><Relationship Id="rId5" Type="http://schemas.openxmlformats.org/officeDocument/2006/relationships/image" Target="../media/image4.svg"/><Relationship Id="rId4" Type="http://schemas.openxmlformats.org/officeDocument/2006/relationships/image" Target="../media/image10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emf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.png"/><Relationship Id="rId5" Type="http://schemas.openxmlformats.org/officeDocument/2006/relationships/image" Target="../media/image4.sv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.png"/><Relationship Id="rId5" Type="http://schemas.openxmlformats.org/officeDocument/2006/relationships/image" Target="../media/image4.svg"/><Relationship Id="rId4" Type="http://schemas.openxmlformats.org/officeDocument/2006/relationships/image" Target="../media/image10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.png"/><Relationship Id="rId5" Type="http://schemas.openxmlformats.org/officeDocument/2006/relationships/image" Target="../media/image4.svg"/><Relationship Id="rId4" Type="http://schemas.openxmlformats.org/officeDocument/2006/relationships/image" Target="../media/image10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.png"/><Relationship Id="rId5" Type="http://schemas.openxmlformats.org/officeDocument/2006/relationships/image" Target="../media/image4.svg"/><Relationship Id="rId4" Type="http://schemas.openxmlformats.org/officeDocument/2006/relationships/image" Target="../media/image10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5.svg"/><Relationship Id="rId5" Type="http://schemas.openxmlformats.org/officeDocument/2006/relationships/image" Target="../media/image16.png"/><Relationship Id="rId4" Type="http://schemas.openxmlformats.org/officeDocument/2006/relationships/image" Target="../media/image3.sv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3.svg"/><Relationship Id="rId5" Type="http://schemas.openxmlformats.org/officeDocument/2006/relationships/image" Target="../media/image19.png"/><Relationship Id="rId4" Type="http://schemas.openxmlformats.org/officeDocument/2006/relationships/image" Target="../media/image5.sv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3.svg"/><Relationship Id="rId5" Type="http://schemas.openxmlformats.org/officeDocument/2006/relationships/image" Target="../media/image19.png"/><Relationship Id="rId4" Type="http://schemas.openxmlformats.org/officeDocument/2006/relationships/image" Target="../media/image5.sv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5.svg"/><Relationship Id="rId5" Type="http://schemas.openxmlformats.org/officeDocument/2006/relationships/image" Target="../media/image16.png"/><Relationship Id="rId4" Type="http://schemas.openxmlformats.org/officeDocument/2006/relationships/image" Target="../media/image3.sv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5.svg"/><Relationship Id="rId5" Type="http://schemas.openxmlformats.org/officeDocument/2006/relationships/image" Target="../media/image16.png"/><Relationship Id="rId4" Type="http://schemas.openxmlformats.org/officeDocument/2006/relationships/image" Target="../media/image3.sv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38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12582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15191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6112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8940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41965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539312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96725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44533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2128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227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79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681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187845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33456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1948659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5229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07353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3893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5209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346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119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33378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39283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49465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9917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921697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4206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2944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4401797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76105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9639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74465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8042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0448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619802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257936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9998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23875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431526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047846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9952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40414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4918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57571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0922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804509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402887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87504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709949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9" name="Skupina 8">
            <a:extLst>
              <a:ext uri="{FF2B5EF4-FFF2-40B4-BE49-F238E27FC236}">
                <a16:creationId xmlns:a16="http://schemas.microsoft.com/office/drawing/2014/main" id="{EDDAB015-EBF0-4938-889E-56AD1CB499F3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5686FF4F-BD31-4284-A6F4-E2F29A74A3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402B9ECF-11DA-4FAD-9387-9E56728971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12826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754686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96196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14517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80399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571967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609418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316572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8142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45671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658761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49003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0935525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945176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71714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84264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519092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105432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1219058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5235436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988592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472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2139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6002573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100770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17753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4540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9238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91055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6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image" Target="../media/image4.svg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7.svg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5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70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51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874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098239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9182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88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28498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9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61433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5" r:id="rId7"/>
    <p:sldLayoutId id="2147483912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19956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461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048811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024869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746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3" Type="http://schemas.openxmlformats.org/officeDocument/2006/relationships/tags" Target="../tags/tag30.xml"/><Relationship Id="rId21" Type="http://schemas.openxmlformats.org/officeDocument/2006/relationships/tags" Target="../tags/tag48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image" Target="../media/image22.png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image" Target="../media/image21.png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image" Target="../media/image20.png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slideLayout" Target="../slideLayouts/slideLayout3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18" Type="http://schemas.openxmlformats.org/officeDocument/2006/relationships/tags" Target="../tags/tag66.xml"/><Relationship Id="rId3" Type="http://schemas.openxmlformats.org/officeDocument/2006/relationships/tags" Target="../tags/tag51.xml"/><Relationship Id="rId21" Type="http://schemas.openxmlformats.org/officeDocument/2006/relationships/tags" Target="../tags/tag69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25" Type="http://schemas.openxmlformats.org/officeDocument/2006/relationships/image" Target="../media/image25.png"/><Relationship Id="rId2" Type="http://schemas.openxmlformats.org/officeDocument/2006/relationships/tags" Target="../tags/tag50.xml"/><Relationship Id="rId16" Type="http://schemas.openxmlformats.org/officeDocument/2006/relationships/tags" Target="../tags/tag64.xml"/><Relationship Id="rId20" Type="http://schemas.openxmlformats.org/officeDocument/2006/relationships/tags" Target="../tags/tag68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24" Type="http://schemas.openxmlformats.org/officeDocument/2006/relationships/image" Target="../media/image24.png"/><Relationship Id="rId5" Type="http://schemas.openxmlformats.org/officeDocument/2006/relationships/tags" Target="../tags/tag53.xml"/><Relationship Id="rId15" Type="http://schemas.openxmlformats.org/officeDocument/2006/relationships/tags" Target="../tags/tag63.xml"/><Relationship Id="rId23" Type="http://schemas.openxmlformats.org/officeDocument/2006/relationships/image" Target="../media/image23.png"/><Relationship Id="rId10" Type="http://schemas.openxmlformats.org/officeDocument/2006/relationships/tags" Target="../tags/tag58.xml"/><Relationship Id="rId19" Type="http://schemas.openxmlformats.org/officeDocument/2006/relationships/tags" Target="../tags/tag67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Relationship Id="rId22" Type="http://schemas.openxmlformats.org/officeDocument/2006/relationships/slideLayout" Target="../slideLayouts/slideLayout3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3.xml"/><Relationship Id="rId4" Type="http://schemas.openxmlformats.org/officeDocument/2006/relationships/tags" Target="../tags/tag7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74.xml"/><Relationship Id="rId4" Type="http://schemas.openxmlformats.org/officeDocument/2006/relationships/image" Target="../media/image26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chart" Target="../charts/chart6.xml"/><Relationship Id="rId5" Type="http://schemas.openxmlformats.org/officeDocument/2006/relationships/slideLayout" Target="../slideLayouts/slideLayout32.xml"/><Relationship Id="rId4" Type="http://schemas.openxmlformats.org/officeDocument/2006/relationships/tags" Target="../tags/tag7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2" Type="http://schemas.openxmlformats.org/officeDocument/2006/relationships/tags" Target="../tags/tag80.xml"/><Relationship Id="rId16" Type="http://schemas.openxmlformats.org/officeDocument/2006/relationships/chart" Target="../charts/chart8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5" Type="http://schemas.openxmlformats.org/officeDocument/2006/relationships/tags" Target="../tags/tag83.xml"/><Relationship Id="rId15" Type="http://schemas.openxmlformats.org/officeDocument/2006/relationships/chart" Target="../charts/chart7.xml"/><Relationship Id="rId10" Type="http://schemas.openxmlformats.org/officeDocument/2006/relationships/tags" Target="../tags/tag88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slideLayout" Target="../slideLayouts/slideLayout3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tags" Target="../tags/tag104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tags" Target="../tags/tag103.xml"/><Relationship Id="rId17" Type="http://schemas.openxmlformats.org/officeDocument/2006/relationships/chart" Target="../charts/chart10.xml"/><Relationship Id="rId2" Type="http://schemas.openxmlformats.org/officeDocument/2006/relationships/tags" Target="../tags/tag93.xml"/><Relationship Id="rId16" Type="http://schemas.openxmlformats.org/officeDocument/2006/relationships/chart" Target="../charts/chart9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5" Type="http://schemas.openxmlformats.org/officeDocument/2006/relationships/tags" Target="../tags/tag96.xml"/><Relationship Id="rId15" Type="http://schemas.openxmlformats.org/officeDocument/2006/relationships/slideLayout" Target="../slideLayouts/slideLayout32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Relationship Id="rId14" Type="http://schemas.openxmlformats.org/officeDocument/2006/relationships/tags" Target="../tags/tag10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coronavirus/2019-ncov/downloads/community/schools-childcare/indicators-thresholds-table.pdf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ecdc.europa.eu/en/covid-19/surveillance/surveillance-definitions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7.xml"/><Relationship Id="rId1" Type="http://schemas.openxmlformats.org/officeDocument/2006/relationships/tags" Target="../tags/tag10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6" Type="http://schemas.openxmlformats.org/officeDocument/2006/relationships/chart" Target="../charts/chart12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5" Type="http://schemas.openxmlformats.org/officeDocument/2006/relationships/chart" Target="../charts/chart11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slideLayout" Target="../slideLayouts/slideLayout3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chart" Target="../charts/chart15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chart" Target="../charts/chart14.xml"/><Relationship Id="rId5" Type="http://schemas.openxmlformats.org/officeDocument/2006/relationships/tags" Target="../tags/tag125.xml"/><Relationship Id="rId10" Type="http://schemas.openxmlformats.org/officeDocument/2006/relationships/chart" Target="../charts/chart13.xml"/><Relationship Id="rId4" Type="http://schemas.openxmlformats.org/officeDocument/2006/relationships/tags" Target="../tags/tag124.xml"/><Relationship Id="rId9" Type="http://schemas.openxmlformats.org/officeDocument/2006/relationships/slideLayout" Target="../slideLayouts/slideLayout3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12" Type="http://schemas.openxmlformats.org/officeDocument/2006/relationships/chart" Target="../charts/chart18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chart" Target="../charts/chart17.xml"/><Relationship Id="rId5" Type="http://schemas.openxmlformats.org/officeDocument/2006/relationships/tags" Target="../tags/tag133.xml"/><Relationship Id="rId10" Type="http://schemas.openxmlformats.org/officeDocument/2006/relationships/chart" Target="../charts/chart16.xml"/><Relationship Id="rId4" Type="http://schemas.openxmlformats.org/officeDocument/2006/relationships/tags" Target="../tags/tag132.xml"/><Relationship Id="rId9" Type="http://schemas.openxmlformats.org/officeDocument/2006/relationships/slideLayout" Target="../slideLayouts/slideLayout3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image" Target="../media/image28.png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slideLayout" Target="../slideLayouts/slideLayout32.xml"/><Relationship Id="rId5" Type="http://schemas.openxmlformats.org/officeDocument/2006/relationships/tags" Target="../tags/tag141.xml"/><Relationship Id="rId10" Type="http://schemas.openxmlformats.org/officeDocument/2006/relationships/tags" Target="../tags/tag146.xml"/><Relationship Id="rId4" Type="http://schemas.openxmlformats.org/officeDocument/2006/relationships/tags" Target="../tags/tag140.xml"/><Relationship Id="rId9" Type="http://schemas.openxmlformats.org/officeDocument/2006/relationships/tags" Target="../tags/tag14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image" Target="../media/image29.png"/><Relationship Id="rId5" Type="http://schemas.openxmlformats.org/officeDocument/2006/relationships/tags" Target="../tags/tag151.xml"/><Relationship Id="rId10" Type="http://schemas.openxmlformats.org/officeDocument/2006/relationships/slideLayout" Target="../slideLayouts/slideLayout32.xml"/><Relationship Id="rId4" Type="http://schemas.openxmlformats.org/officeDocument/2006/relationships/tags" Target="../tags/tag150.xml"/><Relationship Id="rId9" Type="http://schemas.openxmlformats.org/officeDocument/2006/relationships/tags" Target="../tags/tag15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tags" Target="../tags/tag161.xml"/><Relationship Id="rId11" Type="http://schemas.openxmlformats.org/officeDocument/2006/relationships/image" Target="../media/image30.png"/><Relationship Id="rId5" Type="http://schemas.openxmlformats.org/officeDocument/2006/relationships/tags" Target="../tags/tag160.xml"/><Relationship Id="rId10" Type="http://schemas.openxmlformats.org/officeDocument/2006/relationships/slideLayout" Target="../slideLayouts/slideLayout32.xml"/><Relationship Id="rId4" Type="http://schemas.openxmlformats.org/officeDocument/2006/relationships/tags" Target="../tags/tag159.xml"/><Relationship Id="rId9" Type="http://schemas.openxmlformats.org/officeDocument/2006/relationships/tags" Target="../tags/tag16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chart" Target="../charts/chart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tags" Target="../tags/tag170.xml"/><Relationship Id="rId11" Type="http://schemas.openxmlformats.org/officeDocument/2006/relationships/image" Target="../media/image31.png"/><Relationship Id="rId5" Type="http://schemas.openxmlformats.org/officeDocument/2006/relationships/tags" Target="../tags/tag169.xml"/><Relationship Id="rId10" Type="http://schemas.openxmlformats.org/officeDocument/2006/relationships/slideLayout" Target="../slideLayouts/slideLayout32.xml"/><Relationship Id="rId4" Type="http://schemas.openxmlformats.org/officeDocument/2006/relationships/tags" Target="../tags/tag168.xml"/><Relationship Id="rId9" Type="http://schemas.openxmlformats.org/officeDocument/2006/relationships/tags" Target="../tags/tag173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12" Type="http://schemas.openxmlformats.org/officeDocument/2006/relationships/image" Target="../media/image31.png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11" Type="http://schemas.openxmlformats.org/officeDocument/2006/relationships/slideLayout" Target="../slideLayouts/slideLayout32.xml"/><Relationship Id="rId5" Type="http://schemas.openxmlformats.org/officeDocument/2006/relationships/tags" Target="../tags/tag178.xml"/><Relationship Id="rId10" Type="http://schemas.openxmlformats.org/officeDocument/2006/relationships/tags" Target="../tags/tag183.xml"/><Relationship Id="rId4" Type="http://schemas.openxmlformats.org/officeDocument/2006/relationships/tags" Target="../tags/tag177.xml"/><Relationship Id="rId9" Type="http://schemas.openxmlformats.org/officeDocument/2006/relationships/tags" Target="../tags/tag18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4" Type="http://schemas.openxmlformats.org/officeDocument/2006/relationships/chart" Target="../charts/chart1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5" Type="http://schemas.openxmlformats.org/officeDocument/2006/relationships/chart" Target="../charts/chart20.xml"/><Relationship Id="rId4" Type="http://schemas.openxmlformats.org/officeDocument/2006/relationships/notesSlide" Target="../notesSlides/notesSlide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5" Type="http://schemas.openxmlformats.org/officeDocument/2006/relationships/chart" Target="../charts/chart21.xml"/><Relationship Id="rId4" Type="http://schemas.openxmlformats.org/officeDocument/2006/relationships/notesSlide" Target="../notesSlides/notesSlide1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194.xml"/><Relationship Id="rId4" Type="http://schemas.openxmlformats.org/officeDocument/2006/relationships/tags" Target="../tags/tag193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197.xml"/><Relationship Id="rId7" Type="http://schemas.openxmlformats.org/officeDocument/2006/relationships/tags" Target="../tags/tag201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tags" Target="../tags/tag200.xml"/><Relationship Id="rId5" Type="http://schemas.openxmlformats.org/officeDocument/2006/relationships/tags" Target="../tags/tag199.xml"/><Relationship Id="rId10" Type="http://schemas.openxmlformats.org/officeDocument/2006/relationships/chart" Target="../charts/chart22.xml"/><Relationship Id="rId4" Type="http://schemas.openxmlformats.org/officeDocument/2006/relationships/tags" Target="../tags/tag198.xml"/><Relationship Id="rId9" Type="http://schemas.openxmlformats.org/officeDocument/2006/relationships/notesSlide" Target="../notesSlides/notesSlide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chart" Target="../charts/chart2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tags" Target="../tags/tag207.xml"/><Relationship Id="rId5" Type="http://schemas.openxmlformats.org/officeDocument/2006/relationships/tags" Target="../tags/tag206.xml"/><Relationship Id="rId10" Type="http://schemas.openxmlformats.org/officeDocument/2006/relationships/chart" Target="../charts/chart23.xml"/><Relationship Id="rId4" Type="http://schemas.openxmlformats.org/officeDocument/2006/relationships/tags" Target="../tags/tag205.xml"/><Relationship Id="rId9" Type="http://schemas.openxmlformats.org/officeDocument/2006/relationships/notesSlide" Target="../notesSlides/notesSlide1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9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13" Type="http://schemas.openxmlformats.org/officeDocument/2006/relationships/slideLayout" Target="../slideLayouts/slideLayout18.xml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12" Type="http://schemas.openxmlformats.org/officeDocument/2006/relationships/tags" Target="../tags/tag221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tags" Target="../tags/tag215.xml"/><Relationship Id="rId11" Type="http://schemas.openxmlformats.org/officeDocument/2006/relationships/tags" Target="../tags/tag220.xml"/><Relationship Id="rId5" Type="http://schemas.openxmlformats.org/officeDocument/2006/relationships/tags" Target="../tags/tag214.xml"/><Relationship Id="rId10" Type="http://schemas.openxmlformats.org/officeDocument/2006/relationships/tags" Target="../tags/tag219.xml"/><Relationship Id="rId4" Type="http://schemas.openxmlformats.org/officeDocument/2006/relationships/tags" Target="../tags/tag213.xml"/><Relationship Id="rId9" Type="http://schemas.openxmlformats.org/officeDocument/2006/relationships/tags" Target="../tags/tag218.xml"/><Relationship Id="rId14" Type="http://schemas.openxmlformats.org/officeDocument/2006/relationships/chart" Target="../charts/chart24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229.xml"/><Relationship Id="rId13" Type="http://schemas.openxmlformats.org/officeDocument/2006/relationships/slideLayout" Target="../slideLayouts/slideLayout18.xml"/><Relationship Id="rId3" Type="http://schemas.openxmlformats.org/officeDocument/2006/relationships/tags" Target="../tags/tag224.xml"/><Relationship Id="rId7" Type="http://schemas.openxmlformats.org/officeDocument/2006/relationships/tags" Target="../tags/tag228.xml"/><Relationship Id="rId12" Type="http://schemas.openxmlformats.org/officeDocument/2006/relationships/tags" Target="../tags/tag233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tags" Target="../tags/tag227.xml"/><Relationship Id="rId11" Type="http://schemas.openxmlformats.org/officeDocument/2006/relationships/tags" Target="../tags/tag232.xml"/><Relationship Id="rId5" Type="http://schemas.openxmlformats.org/officeDocument/2006/relationships/tags" Target="../tags/tag226.xml"/><Relationship Id="rId10" Type="http://schemas.openxmlformats.org/officeDocument/2006/relationships/tags" Target="../tags/tag231.xml"/><Relationship Id="rId4" Type="http://schemas.openxmlformats.org/officeDocument/2006/relationships/tags" Target="../tags/tag225.xml"/><Relationship Id="rId9" Type="http://schemas.openxmlformats.org/officeDocument/2006/relationships/tags" Target="../tags/tag230.xml"/><Relationship Id="rId14" Type="http://schemas.openxmlformats.org/officeDocument/2006/relationships/chart" Target="../charts/chart25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241.xml"/><Relationship Id="rId13" Type="http://schemas.openxmlformats.org/officeDocument/2006/relationships/tags" Target="../tags/tag246.xml"/><Relationship Id="rId3" Type="http://schemas.openxmlformats.org/officeDocument/2006/relationships/tags" Target="../tags/tag236.xml"/><Relationship Id="rId7" Type="http://schemas.openxmlformats.org/officeDocument/2006/relationships/tags" Target="../tags/tag240.xml"/><Relationship Id="rId12" Type="http://schemas.openxmlformats.org/officeDocument/2006/relationships/tags" Target="../tags/tag245.xml"/><Relationship Id="rId2" Type="http://schemas.openxmlformats.org/officeDocument/2006/relationships/tags" Target="../tags/tag235.xml"/><Relationship Id="rId16" Type="http://schemas.openxmlformats.org/officeDocument/2006/relationships/notesSlide" Target="../notesSlides/notesSlide15.xml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11" Type="http://schemas.openxmlformats.org/officeDocument/2006/relationships/tags" Target="../tags/tag244.xml"/><Relationship Id="rId5" Type="http://schemas.openxmlformats.org/officeDocument/2006/relationships/tags" Target="../tags/tag238.xml"/><Relationship Id="rId15" Type="http://schemas.openxmlformats.org/officeDocument/2006/relationships/slideLayout" Target="../slideLayouts/slideLayout43.xml"/><Relationship Id="rId10" Type="http://schemas.openxmlformats.org/officeDocument/2006/relationships/tags" Target="../tags/tag243.xml"/><Relationship Id="rId4" Type="http://schemas.openxmlformats.org/officeDocument/2006/relationships/tags" Target="../tags/tag237.xml"/><Relationship Id="rId9" Type="http://schemas.openxmlformats.org/officeDocument/2006/relationships/tags" Target="../tags/tag242.xml"/><Relationship Id="rId14" Type="http://schemas.openxmlformats.org/officeDocument/2006/relationships/tags" Target="../tags/tag24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248.xml"/><Relationship Id="rId4" Type="http://schemas.openxmlformats.org/officeDocument/2006/relationships/chart" Target="../charts/chart27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tags" Target="../tags/tag256.xml"/><Relationship Id="rId13" Type="http://schemas.openxmlformats.org/officeDocument/2006/relationships/tags" Target="../tags/tag261.xml"/><Relationship Id="rId18" Type="http://schemas.openxmlformats.org/officeDocument/2006/relationships/tags" Target="../tags/tag266.xml"/><Relationship Id="rId26" Type="http://schemas.openxmlformats.org/officeDocument/2006/relationships/chart" Target="../charts/chart29.xml"/><Relationship Id="rId3" Type="http://schemas.openxmlformats.org/officeDocument/2006/relationships/tags" Target="../tags/tag251.xml"/><Relationship Id="rId21" Type="http://schemas.openxmlformats.org/officeDocument/2006/relationships/tags" Target="../tags/tag269.xml"/><Relationship Id="rId7" Type="http://schemas.openxmlformats.org/officeDocument/2006/relationships/tags" Target="../tags/tag255.xml"/><Relationship Id="rId12" Type="http://schemas.openxmlformats.org/officeDocument/2006/relationships/tags" Target="../tags/tag260.xml"/><Relationship Id="rId17" Type="http://schemas.openxmlformats.org/officeDocument/2006/relationships/tags" Target="../tags/tag265.xml"/><Relationship Id="rId25" Type="http://schemas.openxmlformats.org/officeDocument/2006/relationships/chart" Target="../charts/chart28.xml"/><Relationship Id="rId2" Type="http://schemas.openxmlformats.org/officeDocument/2006/relationships/tags" Target="../tags/tag250.xml"/><Relationship Id="rId16" Type="http://schemas.openxmlformats.org/officeDocument/2006/relationships/tags" Target="../tags/tag264.xml"/><Relationship Id="rId20" Type="http://schemas.openxmlformats.org/officeDocument/2006/relationships/tags" Target="../tags/tag268.xml"/><Relationship Id="rId29" Type="http://schemas.openxmlformats.org/officeDocument/2006/relationships/chart" Target="../charts/chart32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11" Type="http://schemas.openxmlformats.org/officeDocument/2006/relationships/tags" Target="../tags/tag259.xml"/><Relationship Id="rId24" Type="http://schemas.openxmlformats.org/officeDocument/2006/relationships/notesSlide" Target="../notesSlides/notesSlide18.xml"/><Relationship Id="rId5" Type="http://schemas.openxmlformats.org/officeDocument/2006/relationships/tags" Target="../tags/tag253.xml"/><Relationship Id="rId15" Type="http://schemas.openxmlformats.org/officeDocument/2006/relationships/tags" Target="../tags/tag263.xml"/><Relationship Id="rId23" Type="http://schemas.openxmlformats.org/officeDocument/2006/relationships/slideLayout" Target="../slideLayouts/slideLayout72.xml"/><Relationship Id="rId28" Type="http://schemas.openxmlformats.org/officeDocument/2006/relationships/chart" Target="../charts/chart31.xml"/><Relationship Id="rId10" Type="http://schemas.openxmlformats.org/officeDocument/2006/relationships/tags" Target="../tags/tag258.xml"/><Relationship Id="rId19" Type="http://schemas.openxmlformats.org/officeDocument/2006/relationships/tags" Target="../tags/tag267.xml"/><Relationship Id="rId4" Type="http://schemas.openxmlformats.org/officeDocument/2006/relationships/tags" Target="../tags/tag252.xml"/><Relationship Id="rId9" Type="http://schemas.openxmlformats.org/officeDocument/2006/relationships/tags" Target="../tags/tag257.xml"/><Relationship Id="rId14" Type="http://schemas.openxmlformats.org/officeDocument/2006/relationships/tags" Target="../tags/tag262.xml"/><Relationship Id="rId22" Type="http://schemas.openxmlformats.org/officeDocument/2006/relationships/tags" Target="../tags/tag270.xml"/><Relationship Id="rId27" Type="http://schemas.openxmlformats.org/officeDocument/2006/relationships/chart" Target="../charts/chart30.xml"/><Relationship Id="rId30" Type="http://schemas.openxmlformats.org/officeDocument/2006/relationships/chart" Target="../charts/chart3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13" Type="http://schemas.openxmlformats.org/officeDocument/2006/relationships/tags" Target="../tags/tag283.xml"/><Relationship Id="rId18" Type="http://schemas.openxmlformats.org/officeDocument/2006/relationships/tags" Target="../tags/tag288.xml"/><Relationship Id="rId26" Type="http://schemas.openxmlformats.org/officeDocument/2006/relationships/chart" Target="../charts/chart35.xml"/><Relationship Id="rId3" Type="http://schemas.openxmlformats.org/officeDocument/2006/relationships/tags" Target="../tags/tag273.xml"/><Relationship Id="rId21" Type="http://schemas.openxmlformats.org/officeDocument/2006/relationships/tags" Target="../tags/tag291.xml"/><Relationship Id="rId7" Type="http://schemas.openxmlformats.org/officeDocument/2006/relationships/tags" Target="../tags/tag277.xml"/><Relationship Id="rId12" Type="http://schemas.openxmlformats.org/officeDocument/2006/relationships/tags" Target="../tags/tag282.xml"/><Relationship Id="rId17" Type="http://schemas.openxmlformats.org/officeDocument/2006/relationships/tags" Target="../tags/tag287.xml"/><Relationship Id="rId25" Type="http://schemas.openxmlformats.org/officeDocument/2006/relationships/chart" Target="../charts/chart34.xml"/><Relationship Id="rId2" Type="http://schemas.openxmlformats.org/officeDocument/2006/relationships/tags" Target="../tags/tag272.xml"/><Relationship Id="rId16" Type="http://schemas.openxmlformats.org/officeDocument/2006/relationships/tags" Target="../tags/tag286.xml"/><Relationship Id="rId20" Type="http://schemas.openxmlformats.org/officeDocument/2006/relationships/tags" Target="../tags/tag290.xml"/><Relationship Id="rId29" Type="http://schemas.openxmlformats.org/officeDocument/2006/relationships/chart" Target="../charts/chart38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11" Type="http://schemas.openxmlformats.org/officeDocument/2006/relationships/tags" Target="../tags/tag281.xml"/><Relationship Id="rId24" Type="http://schemas.openxmlformats.org/officeDocument/2006/relationships/notesSlide" Target="../notesSlides/notesSlide19.xml"/><Relationship Id="rId5" Type="http://schemas.openxmlformats.org/officeDocument/2006/relationships/tags" Target="../tags/tag275.xml"/><Relationship Id="rId15" Type="http://schemas.openxmlformats.org/officeDocument/2006/relationships/tags" Target="../tags/tag285.xml"/><Relationship Id="rId23" Type="http://schemas.openxmlformats.org/officeDocument/2006/relationships/slideLayout" Target="../slideLayouts/slideLayout72.xml"/><Relationship Id="rId28" Type="http://schemas.openxmlformats.org/officeDocument/2006/relationships/chart" Target="../charts/chart37.xml"/><Relationship Id="rId10" Type="http://schemas.openxmlformats.org/officeDocument/2006/relationships/tags" Target="../tags/tag280.xml"/><Relationship Id="rId19" Type="http://schemas.openxmlformats.org/officeDocument/2006/relationships/tags" Target="../tags/tag289.xml"/><Relationship Id="rId4" Type="http://schemas.openxmlformats.org/officeDocument/2006/relationships/tags" Target="../tags/tag274.xml"/><Relationship Id="rId9" Type="http://schemas.openxmlformats.org/officeDocument/2006/relationships/tags" Target="../tags/tag279.xml"/><Relationship Id="rId14" Type="http://schemas.openxmlformats.org/officeDocument/2006/relationships/tags" Target="../tags/tag284.xml"/><Relationship Id="rId22" Type="http://schemas.openxmlformats.org/officeDocument/2006/relationships/tags" Target="../tags/tag292.xml"/><Relationship Id="rId27" Type="http://schemas.openxmlformats.org/officeDocument/2006/relationships/chart" Target="../charts/chart36.xml"/><Relationship Id="rId30" Type="http://schemas.openxmlformats.org/officeDocument/2006/relationships/chart" Target="../charts/chart39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7.xml"/><Relationship Id="rId1" Type="http://schemas.openxmlformats.org/officeDocument/2006/relationships/tags" Target="../tags/tag29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4" Type="http://schemas.openxmlformats.org/officeDocument/2006/relationships/slideLayout" Target="../slideLayouts/slideLayout5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tags" Target="../tags/tag299.xml"/><Relationship Id="rId2" Type="http://schemas.openxmlformats.org/officeDocument/2006/relationships/tags" Target="../tags/tag298.xml"/><Relationship Id="rId1" Type="http://schemas.openxmlformats.org/officeDocument/2006/relationships/tags" Target="../tags/tag297.xml"/><Relationship Id="rId4" Type="http://schemas.openxmlformats.org/officeDocument/2006/relationships/slideLayout" Target="../slideLayouts/slideLayout56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2" Type="http://schemas.openxmlformats.org/officeDocument/2006/relationships/tags" Target="../tags/tag301.xml"/><Relationship Id="rId1" Type="http://schemas.openxmlformats.org/officeDocument/2006/relationships/tags" Target="../tags/tag300.xml"/><Relationship Id="rId4" Type="http://schemas.openxmlformats.org/officeDocument/2006/relationships/slideLayout" Target="../slideLayouts/slideLayout5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tags" Target="../tags/tag305.xml"/><Relationship Id="rId2" Type="http://schemas.openxmlformats.org/officeDocument/2006/relationships/tags" Target="../tags/tag304.xml"/><Relationship Id="rId1" Type="http://schemas.openxmlformats.org/officeDocument/2006/relationships/tags" Target="../tags/tag303.xml"/><Relationship Id="rId4" Type="http://schemas.openxmlformats.org/officeDocument/2006/relationships/slideLayout" Target="../slideLayouts/slideLayout5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tags" Target="../tags/tag308.xml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4" Type="http://schemas.openxmlformats.org/officeDocument/2006/relationships/slideLayout" Target="../slideLayouts/slideLayout5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09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4" Type="http://schemas.openxmlformats.org/officeDocument/2006/relationships/slideLayout" Target="../slideLayouts/slideLayout6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4" Type="http://schemas.openxmlformats.org/officeDocument/2006/relationships/notesSlide" Target="../notesSlides/notesSlide2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10" Type="http://schemas.openxmlformats.org/officeDocument/2006/relationships/chart" Target="../charts/chart3.xml"/><Relationship Id="rId4" Type="http://schemas.openxmlformats.org/officeDocument/2006/relationships/tags" Target="../tags/tag22.xml"/><Relationship Id="rId9" Type="http://schemas.openxmlformats.org/officeDocument/2006/relationships/notesSlide" Target="../notesSlides/notesSlide1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tags" Target="../tags/tag316.xml"/><Relationship Id="rId1" Type="http://schemas.openxmlformats.org/officeDocument/2006/relationships/tags" Target="../tags/tag315.xml"/><Relationship Id="rId4" Type="http://schemas.openxmlformats.org/officeDocument/2006/relationships/notesSlide" Target="../notesSlides/notesSlide21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tags" Target="../tags/tag319.xml"/><Relationship Id="rId7" Type="http://schemas.openxmlformats.org/officeDocument/2006/relationships/tags" Target="../tags/tag323.xml"/><Relationship Id="rId2" Type="http://schemas.openxmlformats.org/officeDocument/2006/relationships/tags" Target="../tags/tag318.xml"/><Relationship Id="rId1" Type="http://schemas.openxmlformats.org/officeDocument/2006/relationships/tags" Target="../tags/tag317.xml"/><Relationship Id="rId6" Type="http://schemas.openxmlformats.org/officeDocument/2006/relationships/tags" Target="../tags/tag322.xml"/><Relationship Id="rId11" Type="http://schemas.openxmlformats.org/officeDocument/2006/relationships/chart" Target="../charts/chart41.xml"/><Relationship Id="rId5" Type="http://schemas.openxmlformats.org/officeDocument/2006/relationships/tags" Target="../tags/tag321.xml"/><Relationship Id="rId10" Type="http://schemas.openxmlformats.org/officeDocument/2006/relationships/chart" Target="../charts/chart40.xml"/><Relationship Id="rId4" Type="http://schemas.openxmlformats.org/officeDocument/2006/relationships/tags" Target="../tags/tag320.xml"/><Relationship Id="rId9" Type="http://schemas.openxmlformats.org/officeDocument/2006/relationships/notesSlide" Target="../notesSlides/notesSlide22.xml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tags" Target="../tags/tag331.xml"/><Relationship Id="rId13" Type="http://schemas.openxmlformats.org/officeDocument/2006/relationships/tags" Target="../tags/tag336.xml"/><Relationship Id="rId18" Type="http://schemas.openxmlformats.org/officeDocument/2006/relationships/tags" Target="../tags/tag341.xml"/><Relationship Id="rId3" Type="http://schemas.openxmlformats.org/officeDocument/2006/relationships/tags" Target="../tags/tag326.xml"/><Relationship Id="rId21" Type="http://schemas.openxmlformats.org/officeDocument/2006/relationships/slideLayout" Target="../slideLayouts/slideLayout62.xml"/><Relationship Id="rId7" Type="http://schemas.openxmlformats.org/officeDocument/2006/relationships/tags" Target="../tags/tag330.xml"/><Relationship Id="rId12" Type="http://schemas.openxmlformats.org/officeDocument/2006/relationships/tags" Target="../tags/tag335.xml"/><Relationship Id="rId17" Type="http://schemas.openxmlformats.org/officeDocument/2006/relationships/tags" Target="../tags/tag340.xml"/><Relationship Id="rId2" Type="http://schemas.openxmlformats.org/officeDocument/2006/relationships/tags" Target="../tags/tag325.xml"/><Relationship Id="rId16" Type="http://schemas.openxmlformats.org/officeDocument/2006/relationships/tags" Target="../tags/tag339.xml"/><Relationship Id="rId20" Type="http://schemas.openxmlformats.org/officeDocument/2006/relationships/tags" Target="../tags/tag343.xml"/><Relationship Id="rId1" Type="http://schemas.openxmlformats.org/officeDocument/2006/relationships/tags" Target="../tags/tag324.xml"/><Relationship Id="rId6" Type="http://schemas.openxmlformats.org/officeDocument/2006/relationships/tags" Target="../tags/tag329.xml"/><Relationship Id="rId11" Type="http://schemas.openxmlformats.org/officeDocument/2006/relationships/tags" Target="../tags/tag334.xml"/><Relationship Id="rId24" Type="http://schemas.openxmlformats.org/officeDocument/2006/relationships/chart" Target="../charts/chart43.xml"/><Relationship Id="rId5" Type="http://schemas.openxmlformats.org/officeDocument/2006/relationships/tags" Target="../tags/tag328.xml"/><Relationship Id="rId15" Type="http://schemas.openxmlformats.org/officeDocument/2006/relationships/tags" Target="../tags/tag338.xml"/><Relationship Id="rId23" Type="http://schemas.openxmlformats.org/officeDocument/2006/relationships/chart" Target="../charts/chart42.xml"/><Relationship Id="rId10" Type="http://schemas.openxmlformats.org/officeDocument/2006/relationships/tags" Target="../tags/tag333.xml"/><Relationship Id="rId19" Type="http://schemas.openxmlformats.org/officeDocument/2006/relationships/tags" Target="../tags/tag342.xml"/><Relationship Id="rId4" Type="http://schemas.openxmlformats.org/officeDocument/2006/relationships/tags" Target="../tags/tag327.xml"/><Relationship Id="rId9" Type="http://schemas.openxmlformats.org/officeDocument/2006/relationships/tags" Target="../tags/tag332.xml"/><Relationship Id="rId14" Type="http://schemas.openxmlformats.org/officeDocument/2006/relationships/tags" Target="../tags/tag337.xml"/><Relationship Id="rId22" Type="http://schemas.openxmlformats.org/officeDocument/2006/relationships/notesSlide" Target="../notesSlides/notesSlide23.xm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tags" Target="../tags/tag356.xml"/><Relationship Id="rId18" Type="http://schemas.openxmlformats.org/officeDocument/2006/relationships/tags" Target="../tags/tag361.xml"/><Relationship Id="rId3" Type="http://schemas.openxmlformats.org/officeDocument/2006/relationships/tags" Target="../tags/tag346.xml"/><Relationship Id="rId21" Type="http://schemas.openxmlformats.org/officeDocument/2006/relationships/notesSlide" Target="../notesSlides/notesSlide24.xml"/><Relationship Id="rId7" Type="http://schemas.openxmlformats.org/officeDocument/2006/relationships/tags" Target="../tags/tag350.xml"/><Relationship Id="rId12" Type="http://schemas.openxmlformats.org/officeDocument/2006/relationships/tags" Target="../tags/tag355.xml"/><Relationship Id="rId17" Type="http://schemas.openxmlformats.org/officeDocument/2006/relationships/tags" Target="../tags/tag360.xml"/><Relationship Id="rId2" Type="http://schemas.openxmlformats.org/officeDocument/2006/relationships/tags" Target="../tags/tag345.xml"/><Relationship Id="rId16" Type="http://schemas.openxmlformats.org/officeDocument/2006/relationships/tags" Target="../tags/tag359.xml"/><Relationship Id="rId20" Type="http://schemas.openxmlformats.org/officeDocument/2006/relationships/slideLayout" Target="../slideLayouts/slideLayout62.xml"/><Relationship Id="rId1" Type="http://schemas.openxmlformats.org/officeDocument/2006/relationships/tags" Target="../tags/tag344.xml"/><Relationship Id="rId6" Type="http://schemas.openxmlformats.org/officeDocument/2006/relationships/tags" Target="../tags/tag349.xml"/><Relationship Id="rId11" Type="http://schemas.openxmlformats.org/officeDocument/2006/relationships/tags" Target="../tags/tag354.xml"/><Relationship Id="rId5" Type="http://schemas.openxmlformats.org/officeDocument/2006/relationships/tags" Target="../tags/tag348.xml"/><Relationship Id="rId15" Type="http://schemas.openxmlformats.org/officeDocument/2006/relationships/tags" Target="../tags/tag358.xml"/><Relationship Id="rId23" Type="http://schemas.openxmlformats.org/officeDocument/2006/relationships/chart" Target="../charts/chart45.xml"/><Relationship Id="rId10" Type="http://schemas.openxmlformats.org/officeDocument/2006/relationships/tags" Target="../tags/tag353.xml"/><Relationship Id="rId19" Type="http://schemas.openxmlformats.org/officeDocument/2006/relationships/tags" Target="../tags/tag362.xml"/><Relationship Id="rId4" Type="http://schemas.openxmlformats.org/officeDocument/2006/relationships/tags" Target="../tags/tag347.xml"/><Relationship Id="rId9" Type="http://schemas.openxmlformats.org/officeDocument/2006/relationships/tags" Target="../tags/tag352.xml"/><Relationship Id="rId14" Type="http://schemas.openxmlformats.org/officeDocument/2006/relationships/tags" Target="../tags/tag357.xml"/><Relationship Id="rId22" Type="http://schemas.openxmlformats.org/officeDocument/2006/relationships/chart" Target="../charts/chart44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tags" Target="../tags/tag370.xml"/><Relationship Id="rId13" Type="http://schemas.openxmlformats.org/officeDocument/2006/relationships/tags" Target="../tags/tag375.xml"/><Relationship Id="rId18" Type="http://schemas.openxmlformats.org/officeDocument/2006/relationships/tags" Target="../tags/tag380.xml"/><Relationship Id="rId3" Type="http://schemas.openxmlformats.org/officeDocument/2006/relationships/tags" Target="../tags/tag365.xml"/><Relationship Id="rId21" Type="http://schemas.openxmlformats.org/officeDocument/2006/relationships/notesSlide" Target="../notesSlides/notesSlide25.xml"/><Relationship Id="rId7" Type="http://schemas.openxmlformats.org/officeDocument/2006/relationships/tags" Target="../tags/tag369.xml"/><Relationship Id="rId12" Type="http://schemas.openxmlformats.org/officeDocument/2006/relationships/tags" Target="../tags/tag374.xml"/><Relationship Id="rId17" Type="http://schemas.openxmlformats.org/officeDocument/2006/relationships/tags" Target="../tags/tag379.xml"/><Relationship Id="rId2" Type="http://schemas.openxmlformats.org/officeDocument/2006/relationships/tags" Target="../tags/tag364.xml"/><Relationship Id="rId16" Type="http://schemas.openxmlformats.org/officeDocument/2006/relationships/tags" Target="../tags/tag378.xml"/><Relationship Id="rId20" Type="http://schemas.openxmlformats.org/officeDocument/2006/relationships/slideLayout" Target="../slideLayouts/slideLayout62.xml"/><Relationship Id="rId1" Type="http://schemas.openxmlformats.org/officeDocument/2006/relationships/tags" Target="../tags/tag363.xml"/><Relationship Id="rId6" Type="http://schemas.openxmlformats.org/officeDocument/2006/relationships/tags" Target="../tags/tag368.xml"/><Relationship Id="rId11" Type="http://schemas.openxmlformats.org/officeDocument/2006/relationships/tags" Target="../tags/tag373.xml"/><Relationship Id="rId5" Type="http://schemas.openxmlformats.org/officeDocument/2006/relationships/tags" Target="../tags/tag367.xml"/><Relationship Id="rId15" Type="http://schemas.openxmlformats.org/officeDocument/2006/relationships/tags" Target="../tags/tag377.xml"/><Relationship Id="rId23" Type="http://schemas.openxmlformats.org/officeDocument/2006/relationships/chart" Target="../charts/chart47.xml"/><Relationship Id="rId10" Type="http://schemas.openxmlformats.org/officeDocument/2006/relationships/tags" Target="../tags/tag372.xml"/><Relationship Id="rId19" Type="http://schemas.openxmlformats.org/officeDocument/2006/relationships/tags" Target="../tags/tag381.xml"/><Relationship Id="rId4" Type="http://schemas.openxmlformats.org/officeDocument/2006/relationships/tags" Target="../tags/tag366.xml"/><Relationship Id="rId9" Type="http://schemas.openxmlformats.org/officeDocument/2006/relationships/tags" Target="../tags/tag371.xml"/><Relationship Id="rId14" Type="http://schemas.openxmlformats.org/officeDocument/2006/relationships/tags" Target="../tags/tag376.xml"/><Relationship Id="rId22" Type="http://schemas.openxmlformats.org/officeDocument/2006/relationships/chart" Target="../charts/chart46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tags" Target="../tags/tag389.xml"/><Relationship Id="rId13" Type="http://schemas.openxmlformats.org/officeDocument/2006/relationships/chart" Target="../charts/chart48.xml"/><Relationship Id="rId3" Type="http://schemas.openxmlformats.org/officeDocument/2006/relationships/tags" Target="../tags/tag384.xml"/><Relationship Id="rId7" Type="http://schemas.openxmlformats.org/officeDocument/2006/relationships/tags" Target="../tags/tag388.xml"/><Relationship Id="rId12" Type="http://schemas.openxmlformats.org/officeDocument/2006/relationships/notesSlide" Target="../notesSlides/notesSlide26.xml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6" Type="http://schemas.openxmlformats.org/officeDocument/2006/relationships/tags" Target="../tags/tag387.xml"/><Relationship Id="rId11" Type="http://schemas.openxmlformats.org/officeDocument/2006/relationships/slideLayout" Target="../slideLayouts/slideLayout62.xml"/><Relationship Id="rId5" Type="http://schemas.openxmlformats.org/officeDocument/2006/relationships/tags" Target="../tags/tag386.xml"/><Relationship Id="rId10" Type="http://schemas.openxmlformats.org/officeDocument/2006/relationships/tags" Target="../tags/tag391.xml"/><Relationship Id="rId4" Type="http://schemas.openxmlformats.org/officeDocument/2006/relationships/tags" Target="../tags/tag385.xml"/><Relationship Id="rId9" Type="http://schemas.openxmlformats.org/officeDocument/2006/relationships/tags" Target="../tags/tag390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tags" Target="../tags/tag399.xml"/><Relationship Id="rId13" Type="http://schemas.openxmlformats.org/officeDocument/2006/relationships/chart" Target="../charts/chart49.xml"/><Relationship Id="rId3" Type="http://schemas.openxmlformats.org/officeDocument/2006/relationships/tags" Target="../tags/tag394.xml"/><Relationship Id="rId7" Type="http://schemas.openxmlformats.org/officeDocument/2006/relationships/tags" Target="../tags/tag398.xml"/><Relationship Id="rId12" Type="http://schemas.openxmlformats.org/officeDocument/2006/relationships/notesSlide" Target="../notesSlides/notesSlide27.xml"/><Relationship Id="rId2" Type="http://schemas.openxmlformats.org/officeDocument/2006/relationships/tags" Target="../tags/tag393.xml"/><Relationship Id="rId1" Type="http://schemas.openxmlformats.org/officeDocument/2006/relationships/tags" Target="../tags/tag392.xml"/><Relationship Id="rId6" Type="http://schemas.openxmlformats.org/officeDocument/2006/relationships/tags" Target="../tags/tag397.xml"/><Relationship Id="rId11" Type="http://schemas.openxmlformats.org/officeDocument/2006/relationships/slideLayout" Target="../slideLayouts/slideLayout62.xml"/><Relationship Id="rId5" Type="http://schemas.openxmlformats.org/officeDocument/2006/relationships/tags" Target="../tags/tag396.xml"/><Relationship Id="rId10" Type="http://schemas.openxmlformats.org/officeDocument/2006/relationships/tags" Target="../tags/tag401.xml"/><Relationship Id="rId4" Type="http://schemas.openxmlformats.org/officeDocument/2006/relationships/tags" Target="../tags/tag395.xml"/><Relationship Id="rId9" Type="http://schemas.openxmlformats.org/officeDocument/2006/relationships/tags" Target="../tags/tag40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6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tav epidemie k </a:t>
            </a:r>
            <a:r>
              <a:rPr lang="cs-CZ" sz="4800" b="1" dirty="0" smtClean="0"/>
              <a:t>19.6. – 20.6</a:t>
            </a:r>
            <a:r>
              <a:rPr lang="cs-CZ" sz="4800" b="1" dirty="0"/>
              <a:t>. 2021</a:t>
            </a:r>
          </a:p>
          <a:p>
            <a:r>
              <a:rPr lang="cs-CZ" sz="4800" b="1" dirty="0" smtClean="0"/>
              <a:t>– přehled </a:t>
            </a:r>
            <a:r>
              <a:rPr lang="cs-CZ" sz="4800" b="1" dirty="0"/>
              <a:t>aktuálních </a:t>
            </a:r>
            <a:r>
              <a:rPr lang="cs-CZ" sz="4800" b="1" dirty="0" smtClean="0"/>
              <a:t>dat a trendů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108461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8DA2CCD-479F-4CDA-94E9-5B5B0C587A3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586886" y="1439068"/>
          <a:ext cx="9114426" cy="4964784"/>
        </p:xfrm>
        <a:graphic>
          <a:graphicData uri="http://schemas.openxmlformats.org/drawingml/2006/table">
            <a:tbl>
              <a:tblPr/>
              <a:tblGrid>
                <a:gridCol w="1519071">
                  <a:extLst>
                    <a:ext uri="{9D8B030D-6E8A-4147-A177-3AD203B41FA5}">
                      <a16:colId xmlns:a16="http://schemas.microsoft.com/office/drawing/2014/main" val="660444956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1009448705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3574878480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485992919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3346719986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3363963380"/>
                    </a:ext>
                  </a:extLst>
                </a:gridCol>
              </a:tblGrid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D5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0953873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9CE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E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291553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C4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BF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8506750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EC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D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B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6649904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EB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C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E1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7960431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E4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1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D6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4983121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E5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4143596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D4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158379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F5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C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E9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0932496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D2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5788515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D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E1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4061767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C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9481663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E8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3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9589939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F9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7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EA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8321780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5350568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B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E1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77863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90686" y="759551"/>
          <a:ext cx="11215540" cy="5644303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315100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Kraj podle </a:t>
                      </a:r>
                    </a:p>
                    <a:p>
                      <a:pPr algn="l" fontAlgn="b"/>
                      <a:r>
                        <a:rPr lang="cs-CZ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ísta bydliště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18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365619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8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8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Hlavní město Pra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1 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5 0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6 8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Střed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7 0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1 7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 5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2 7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8 8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4 5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</a:rPr>
                        <a:t>Plzeňs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2 6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 7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 6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arlovar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 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 5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 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Úst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0 7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5 7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7 6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Liber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 0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 5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 7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álovéhrad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8 9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9 3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 5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Pardubi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 4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 8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3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aj Vysočin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4 4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 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 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morav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9 9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8 8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2 2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Olomou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3 3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 7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 3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Zlín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5 1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 5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 5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effectLst/>
                        </a:rPr>
                        <a:t>Moravskoslez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4 8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2 8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7 8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28992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neuvedeno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0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83 1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57 8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0 4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8 a více let – přehled podle regionů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. 6. 2021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490686" y="6433516"/>
            <a:ext cx="10910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em bylo u osob ve věku 18+ aplikováno </a:t>
            </a:r>
            <a:r>
              <a:rPr kumimoji="0" lang="pl-PL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207 933 dávek, z toho 2 530 439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sou dávky druhé/konečné. 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79036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podle věku – aplikované dávky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211899" y="3171829"/>
            <a:ext cx="49881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aplikovaných dávek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>
            <p:extLst/>
          </p:nvPr>
        </p:nvGraphicFramePr>
        <p:xfrm>
          <a:off x="561974" y="759913"/>
          <a:ext cx="11377929" cy="58188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270837" y="1316917"/>
          <a:ext cx="1721139" cy="4500001"/>
        </p:xfrm>
        <a:graphic>
          <a:graphicData uri="http://schemas.openxmlformats.org/drawingml/2006/table">
            <a:tbl>
              <a:tblPr/>
              <a:tblGrid>
                <a:gridCol w="849812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871327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–7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4 9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–6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3 5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–64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8 5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+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7 6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1415959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–5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3 7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106629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–44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2 8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5853299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–54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1 0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7409393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–4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0 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9445733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30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 3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1872275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–3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1 3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3620128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–34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8 4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989975"/>
                  </a:ext>
                </a:extLst>
              </a:tr>
            </a:tbl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F2F30761-04A3-420D-862F-AD03D34803D6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</p:spTree>
    <p:extLst>
      <p:ext uri="{BB962C8B-B14F-4D97-AF65-F5344CB8AC3E}">
        <p14:creationId xmlns:p14="http://schemas.microsoft.com/office/powerpoint/2010/main" val="13388816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Vývoj v regionech </a:t>
            </a:r>
          </a:p>
          <a:p>
            <a:r>
              <a:rPr lang="cs-CZ" sz="4800" b="1" i="1" dirty="0"/>
              <a:t>- Identifikace rizik -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29519946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0" y="1972805"/>
            <a:ext cx="11910383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éměř všechny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giony klesly významně pod hranici týdenních záchytů nákazy </a:t>
            </a:r>
            <a:r>
              <a:rPr lang="cs-CZ" sz="3200" b="1" dirty="0" smtClean="0">
                <a:solidFill>
                  <a:srgbClr val="0000FF"/>
                </a:solidFill>
                <a:latin typeface="Calibri" panose="020F0502020204030204"/>
              </a:rPr>
              <a:t>12,5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100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s. obyvatel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dirty="0" smtClean="0">
                <a:solidFill>
                  <a:srgbClr val="FF0000"/>
                </a:solidFill>
                <a:latin typeface="Calibri" panose="020F0502020204030204"/>
              </a:rPr>
              <a:t>Dlouhodobě z</a:t>
            </a:r>
            <a:r>
              <a:rPr kumimoji="0" lang="cs-CZ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těž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esá ve všech regionech,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ývoj se blíží ke stavu, kdy další masivní pokles již nebude možný: denně budou diagnostikovány nižší desítky případů a v tomto stavu „rovnováhy“ bude nezbytné sledovat hlavně rizikové záchyty nemoci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88514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zi regiony se postupně </a:t>
            </a:r>
            <a:r>
              <a:rPr lang="cs-CZ" sz="4000" b="1" dirty="0">
                <a:solidFill>
                  <a:prstClr val="black"/>
                </a:solidFill>
                <a:latin typeface="Calibri" panose="020F0502020204030204"/>
              </a:rPr>
              <a:t>zmenšuj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díly</a:t>
            </a:r>
            <a:r>
              <a:rPr kumimoji="0" lang="cs-CZ" sz="4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celkové virové zátěži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088513" y="331423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179336" y="604135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48731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</a:t>
            </a:r>
            <a:r>
              <a:rPr lang="en-US" u="sng" dirty="0"/>
              <a:t>v </a:t>
            </a:r>
            <a:r>
              <a:rPr lang="en-US" u="sng" dirty="0" err="1"/>
              <a:t>okresech</a:t>
            </a:r>
            <a:endParaRPr lang="cs-CZ" u="sng" dirty="0">
              <a:latin typeface="+mj-lt"/>
            </a:endParaRPr>
          </a:p>
        </p:txBody>
      </p:sp>
      <p:sp>
        <p:nvSpPr>
          <p:cNvPr id="22" name="TextBox 29">
            <a:extLst>
              <a:ext uri="{FF2B5EF4-FFF2-40B4-BE49-F238E27FC236}">
                <a16:creationId xmlns:a16="http://schemas.microsoft.com/office/drawing/2014/main" id="{07FF853E-BE47-49BE-A1DE-A1BD17A8BE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39689" y="1283698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.6.202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615780" y="2111101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615780" y="2419827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615780" y="2728553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615780" y="3037279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615780" y="3346005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855536" y="2016435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855536" y="2327725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855536" y="2639015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855536" y="2950305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855536" y="3261595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615780" y="3654730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615780" y="3963454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855536" y="3572885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0855536" y="3884177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0615780" y="1836435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855536" y="1772547"/>
            <a:ext cx="8242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-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D1B206D-13F2-46AF-A707-682B8D88A63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0615780" y="1546093"/>
            <a:ext cx="180000" cy="180000"/>
          </a:xfrm>
          <a:prstGeom prst="rect">
            <a:avLst/>
          </a:prstGeom>
          <a:solidFill>
            <a:srgbClr val="AEDF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E19C18A-0242-40A3-8DFB-2F38AED8C204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10855536" y="1482205"/>
            <a:ext cx="9957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 -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Box 29">
            <a:extLst>
              <a:ext uri="{FF2B5EF4-FFF2-40B4-BE49-F238E27FC236}">
                <a16:creationId xmlns:a16="http://schemas.microsoft.com/office/drawing/2014/main" id="{D586CC7F-5941-4F05-9FC8-AD3DC629C448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4181194" y="1282993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6.2021</a:t>
            </a:r>
          </a:p>
        </p:txBody>
      </p:sp>
      <p:sp>
        <p:nvSpPr>
          <p:cNvPr id="2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554444" y="4836692"/>
            <a:ext cx="11027955" cy="171653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</a:t>
            </a: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ém poklesu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é zátěže dochází i v regionech, kde v posledních týdnech přetrvávaly vyšší počty nových případů – tedy v JČK, LBK a ZLK. </a:t>
            </a:r>
            <a:r>
              <a:rPr lang="cs-CZ" b="1" dirty="0">
                <a:solidFill>
                  <a:prstClr val="black"/>
                </a:solidFill>
                <a:latin typeface="Calibri" panose="020F0502020204030204"/>
              </a:rPr>
              <a:t>Na úrovni celých krajů není pozorován žádný rizikový vývoj, potenciálně rizikové trendy jsou registrovány pouze na úrovni okresů nebo </a:t>
            </a:r>
            <a:r>
              <a:rPr lang="cs-CZ" b="1" dirty="0" smtClean="0">
                <a:solidFill>
                  <a:prstClr val="black"/>
                </a:solidFill>
                <a:latin typeface="Calibri" panose="020F0502020204030204"/>
              </a:rPr>
              <a:t>spíše ORP</a:t>
            </a:r>
            <a:r>
              <a:rPr lang="cs-CZ" b="1" dirty="0">
                <a:solidFill>
                  <a:prstClr val="black"/>
                </a:solidFill>
                <a:latin typeface="Calibri" panose="020F0502020204030204"/>
              </a:rPr>
              <a:t>. Žádný z okresů </a:t>
            </a:r>
            <a:r>
              <a:rPr lang="cs-CZ" b="1" dirty="0" smtClean="0">
                <a:solidFill>
                  <a:prstClr val="black"/>
                </a:solidFill>
                <a:latin typeface="Calibri" panose="020F0502020204030204"/>
              </a:rPr>
              <a:t>dlouhodobě </a:t>
            </a:r>
            <a:r>
              <a:rPr lang="cs-CZ" b="1" dirty="0">
                <a:solidFill>
                  <a:prstClr val="black"/>
                </a:solidFill>
                <a:latin typeface="Calibri" panose="020F0502020204030204"/>
              </a:rPr>
              <a:t>v hodnotách epidemických indikátorů neroste, rizikové výkyvy jsou dočasné. </a:t>
            </a: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72C0F43-AA2D-4190-92A2-DA88FB03C4B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0615780" y="1260247"/>
            <a:ext cx="180000" cy="180000"/>
          </a:xfrm>
          <a:prstGeom prst="rect">
            <a:avLst/>
          </a:prstGeom>
          <a:solidFill>
            <a:srgbClr val="E5F4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7F72A3E-D55C-4A77-863C-B5BD05190F52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10855536" y="1196359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</a:t>
            </a:r>
          </a:p>
        </p:txBody>
      </p:sp>
      <p:pic>
        <p:nvPicPr>
          <p:cNvPr id="13" name="Picture 12" descr="Map&#10;&#10;Description automatically generated">
            <a:extLst>
              <a:ext uri="{FF2B5EF4-FFF2-40B4-BE49-F238E27FC236}">
                <a16:creationId xmlns:a16="http://schemas.microsoft.com/office/drawing/2014/main" id="{3359C0C9-DFE6-4E32-86B9-85B7E3728AF4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324" y="1676539"/>
            <a:ext cx="3271125" cy="2158191"/>
          </a:xfrm>
          <a:prstGeom prst="rect">
            <a:avLst/>
          </a:prstGeom>
        </p:spPr>
      </p:pic>
      <p:pic>
        <p:nvPicPr>
          <p:cNvPr id="23" name="Picture 22" descr="Map&#10;&#10;Description automatically generated">
            <a:extLst>
              <a:ext uri="{FF2B5EF4-FFF2-40B4-BE49-F238E27FC236}">
                <a16:creationId xmlns:a16="http://schemas.microsoft.com/office/drawing/2014/main" id="{78112DCA-C20A-48A0-A26D-8F3C013E920B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70914"/>
            <a:ext cx="3271125" cy="2158191"/>
          </a:xfrm>
          <a:prstGeom prst="rect">
            <a:avLst/>
          </a:prstGeom>
        </p:spPr>
      </p:pic>
      <p:sp>
        <p:nvSpPr>
          <p:cNvPr id="36" name="TextBox 29">
            <a:extLst>
              <a:ext uri="{FF2B5EF4-FFF2-40B4-BE49-F238E27FC236}">
                <a16:creationId xmlns:a16="http://schemas.microsoft.com/office/drawing/2014/main" id="{33132382-349C-49A4-9E7B-D7DCD145EB36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7325938" y="1282993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.6.2021</a:t>
            </a:r>
          </a:p>
        </p:txBody>
      </p:sp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ED6AECB2-42F5-4A50-927C-1C0806FF567F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2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4761" y="1674730"/>
            <a:ext cx="3273867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5548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</a:t>
            </a:r>
            <a:r>
              <a:rPr lang="en-US" u="sng" dirty="0"/>
              <a:t>v </a:t>
            </a:r>
            <a:r>
              <a:rPr lang="cs-CZ" u="sng" dirty="0"/>
              <a:t>ORP</a:t>
            </a:r>
            <a:endParaRPr lang="cs-CZ" u="sng" dirty="0">
              <a:latin typeface="+mj-lt"/>
            </a:endParaRPr>
          </a:p>
        </p:txBody>
      </p:sp>
      <p:sp>
        <p:nvSpPr>
          <p:cNvPr id="22" name="TextBox 29">
            <a:extLst>
              <a:ext uri="{FF2B5EF4-FFF2-40B4-BE49-F238E27FC236}">
                <a16:creationId xmlns:a16="http://schemas.microsoft.com/office/drawing/2014/main" id="{07FF853E-BE47-49BE-A1DE-A1BD17A8BE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12618" y="1105609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.6.2021</a:t>
            </a:r>
          </a:p>
        </p:txBody>
      </p:sp>
      <p:sp>
        <p:nvSpPr>
          <p:cNvPr id="26" name="TextBox 29">
            <a:extLst>
              <a:ext uri="{FF2B5EF4-FFF2-40B4-BE49-F238E27FC236}">
                <a16:creationId xmlns:a16="http://schemas.microsoft.com/office/drawing/2014/main" id="{77CD41C0-8423-4245-B11A-915A287FB56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541788" y="1134609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6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6DA533D-9AA6-4235-B3D6-0096CA366F7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0647304" y="2134615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0F9B2D6-4778-43E3-B98E-5EC8465786AF}"/>
              </a:ext>
            </a:extLst>
          </p:cNvPr>
          <p:cNvSpPr/>
          <p:nvPr/>
        </p:nvSpPr>
        <p:spPr>
          <a:xfrm>
            <a:off x="10647304" y="2443341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07F1A4A-FA9D-4A47-A922-1B251B902C72}"/>
              </a:ext>
            </a:extLst>
          </p:cNvPr>
          <p:cNvSpPr/>
          <p:nvPr/>
        </p:nvSpPr>
        <p:spPr>
          <a:xfrm>
            <a:off x="10647304" y="2752067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1EEC538-E62E-4ECC-A778-E278E2B9476C}"/>
              </a:ext>
            </a:extLst>
          </p:cNvPr>
          <p:cNvSpPr/>
          <p:nvPr/>
        </p:nvSpPr>
        <p:spPr>
          <a:xfrm>
            <a:off x="10647304" y="3060793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DF4DADA-62DA-4D7C-BEE5-575B28C59CD3}"/>
              </a:ext>
            </a:extLst>
          </p:cNvPr>
          <p:cNvSpPr/>
          <p:nvPr/>
        </p:nvSpPr>
        <p:spPr>
          <a:xfrm>
            <a:off x="10647304" y="3369519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775056E-D2D8-4A42-93BA-8AD5AE12087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887060" y="2039949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AF6A747-9CB7-4324-9AD2-66BB7661482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887060" y="235123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1970D23-2A89-4954-B11F-F107C3FF8C4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887060" y="266252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257F127-642F-4FE1-A99D-F6D1BC53F26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887060" y="297381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DFEC243-B207-455A-9FEC-61ED8EBA2E4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887060" y="328510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30AA543-8A4D-4DAF-8995-125FD8B9740E}"/>
              </a:ext>
            </a:extLst>
          </p:cNvPr>
          <p:cNvSpPr/>
          <p:nvPr/>
        </p:nvSpPr>
        <p:spPr>
          <a:xfrm>
            <a:off x="10647304" y="3678244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5B453F5-58DE-4531-B614-A6425C4ECDC7}"/>
              </a:ext>
            </a:extLst>
          </p:cNvPr>
          <p:cNvSpPr/>
          <p:nvPr/>
        </p:nvSpPr>
        <p:spPr>
          <a:xfrm>
            <a:off x="10647304" y="3986968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CE90649-6AC8-4B02-83B4-7BEEC4B21FE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0887060" y="359639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7A2E242-16BE-43A3-A54C-553C4F1B3F82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887060" y="3907691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C737378-EE80-453C-9766-DBFF463FCE5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0647304" y="1859949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55FBCF5-FF36-4D26-B8AB-48C580D765F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0887060" y="1796061"/>
            <a:ext cx="8242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-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C13340A-0D48-41A5-8B34-0BA78DAA051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0647304" y="1569607"/>
            <a:ext cx="180000" cy="180000"/>
          </a:xfrm>
          <a:prstGeom prst="rect">
            <a:avLst/>
          </a:prstGeom>
          <a:solidFill>
            <a:srgbClr val="AEDF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710957B-844A-4350-A2A6-C433DDDC464E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0887060" y="1505719"/>
            <a:ext cx="9957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 -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F6283F6-EF4A-46D7-8FC0-362446F992AC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0647304" y="1283761"/>
            <a:ext cx="180000" cy="180000"/>
          </a:xfrm>
          <a:prstGeom prst="rect">
            <a:avLst/>
          </a:prstGeom>
          <a:solidFill>
            <a:srgbClr val="E5F4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D81AB04-090F-49D2-8801-552F995C391F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10887060" y="1219873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</a:t>
            </a:r>
          </a:p>
        </p:txBody>
      </p:sp>
      <p:pic>
        <p:nvPicPr>
          <p:cNvPr id="13" name="Picture 12" descr="Map&#10;&#10;Description automatically generated">
            <a:extLst>
              <a:ext uri="{FF2B5EF4-FFF2-40B4-BE49-F238E27FC236}">
                <a16:creationId xmlns:a16="http://schemas.microsoft.com/office/drawing/2014/main" id="{412EC28B-A904-452E-8D16-B3153D0EFA09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4950" y="1452761"/>
            <a:ext cx="3273867" cy="2160000"/>
          </a:xfrm>
          <a:prstGeom prst="rect">
            <a:avLst/>
          </a:prstGeom>
        </p:spPr>
      </p:pic>
      <p:pic>
        <p:nvPicPr>
          <p:cNvPr id="23" name="Picture 22" descr="Map&#10;&#10;Description automatically generated">
            <a:extLst>
              <a:ext uri="{FF2B5EF4-FFF2-40B4-BE49-F238E27FC236}">
                <a16:creationId xmlns:a16="http://schemas.microsoft.com/office/drawing/2014/main" id="{E5486F7E-3CBA-4DF8-94A4-40742B8916B6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165" y="1452761"/>
            <a:ext cx="3273867" cy="2160000"/>
          </a:xfrm>
          <a:prstGeom prst="rect">
            <a:avLst/>
          </a:prstGeom>
        </p:spPr>
      </p:pic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DD7FEF11-4711-4E8B-B0D2-39ABA8267FF1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6285" y="1452761"/>
            <a:ext cx="3273867" cy="2160000"/>
          </a:xfrm>
          <a:prstGeom prst="rect">
            <a:avLst/>
          </a:prstGeom>
        </p:spPr>
      </p:pic>
      <p:sp>
        <p:nvSpPr>
          <p:cNvPr id="31" name="TextBox 29">
            <a:extLst>
              <a:ext uri="{FF2B5EF4-FFF2-40B4-BE49-F238E27FC236}">
                <a16:creationId xmlns:a16="http://schemas.microsoft.com/office/drawing/2014/main" id="{F4AD8AB0-77F8-4C13-B654-D85CCE685C64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6953021" y="1106010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.6.2021</a:t>
            </a:r>
          </a:p>
        </p:txBody>
      </p:sp>
      <p:sp>
        <p:nvSpPr>
          <p:cNvPr id="52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554444" y="4836692"/>
            <a:ext cx="11027955" cy="171653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</a:t>
            </a: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ém poklesu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é zátěže dochází i v regionech, kde v posledních týdnech přetrvávaly vyšší počty nových případů – tedy v JČK, LBK a ZLK. </a:t>
            </a:r>
            <a:r>
              <a:rPr lang="cs-CZ" b="1" dirty="0">
                <a:solidFill>
                  <a:prstClr val="black"/>
                </a:solidFill>
                <a:latin typeface="Calibri" panose="020F0502020204030204"/>
              </a:rPr>
              <a:t>Na úrovni celých krajů není pozorován žádný rizikový vývoj, potenciálně rizikové trendy jsou registrovány pouze na úrovni okresů nebo </a:t>
            </a:r>
            <a:r>
              <a:rPr lang="cs-CZ" b="1" dirty="0" smtClean="0">
                <a:solidFill>
                  <a:prstClr val="black"/>
                </a:solidFill>
                <a:latin typeface="Calibri" panose="020F0502020204030204"/>
              </a:rPr>
              <a:t>spíše ORP</a:t>
            </a:r>
            <a:r>
              <a:rPr lang="cs-CZ" b="1" dirty="0">
                <a:solidFill>
                  <a:prstClr val="black"/>
                </a:solidFill>
                <a:latin typeface="Calibri" panose="020F0502020204030204"/>
              </a:rPr>
              <a:t>. Žádný z okresů </a:t>
            </a:r>
            <a:r>
              <a:rPr lang="cs-CZ" b="1" dirty="0" smtClean="0">
                <a:solidFill>
                  <a:prstClr val="black"/>
                </a:solidFill>
                <a:latin typeface="Calibri" panose="020F0502020204030204"/>
              </a:rPr>
              <a:t>dlouhodobě </a:t>
            </a:r>
            <a:r>
              <a:rPr lang="cs-CZ" b="1" dirty="0">
                <a:solidFill>
                  <a:prstClr val="black"/>
                </a:solidFill>
                <a:latin typeface="Calibri" panose="020F0502020204030204"/>
              </a:rPr>
              <a:t>v hodnotách epidemických indikátorů neroste, rizikové výkyvy jsou dočasné. </a:t>
            </a: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75654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</a:t>
            </a:r>
            <a:r>
              <a:rPr lang="pl-PL" dirty="0" smtClean="0"/>
              <a:t>20</a:t>
            </a:r>
            <a:r>
              <a:rPr lang="cs-CZ" dirty="0" smtClean="0"/>
              <a:t>.6</a:t>
            </a:r>
            <a:r>
              <a:rPr lang="cs-CZ" dirty="0"/>
              <a:t>.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30010" y="1149643"/>
            <a:ext cx="4847951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zdíly mezi regiony se postupně zmenšují.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cí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nd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 dlouhodobě registrován ve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 krajích.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 krajů již kleslo pod týdenní počet nových případů 10/100tis. obyv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 smtClean="0">
                <a:solidFill>
                  <a:srgbClr val="0000FF"/>
                </a:solidFill>
                <a:latin typeface="Arial" panose="020B0604020202020204"/>
              </a:rPr>
              <a:t>Regiony, u kterých byly počty nových případů v posledním období rizikově zvýšené, významně klesají (LBK, JČK, ZLK). Naopak nově v posledních dnech hodnoty ukazatelů oscilují bez dalšího poklesu v Praze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custDataLst>
              <p:tags r:id="rId3"/>
            </p:custDataLst>
            <p:extLst/>
          </p:nvPr>
        </p:nvGraphicFramePr>
        <p:xfrm>
          <a:off x="579564" y="1033447"/>
          <a:ext cx="6019644" cy="5181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64525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502559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852560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</a:tblGrid>
              <a:tr h="1663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ázev kraje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denní počet nových případů na 100 tis. obyv.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denní počet nových případů na 100 tis. obyv.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 město Prah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.1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.9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762506"/>
                  </a:ext>
                </a:extLst>
              </a:tr>
              <a:tr h="18035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.2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.6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.4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.5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.7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.7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13369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.0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.0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8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.0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8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.6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641128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 Vysočin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3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.8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5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.6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2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.0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40667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2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8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0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.7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7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6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3045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0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.5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0716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ČR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8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.0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302242" y="5553355"/>
            <a:ext cx="4788389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á hodnota za ČR poklesl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 10 případů / 100 tis. obyv. za 7 dní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6772810" y="5597007"/>
            <a:ext cx="457200" cy="664234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58938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</a:t>
            </a:r>
            <a:r>
              <a:rPr lang="cs-CZ" dirty="0" smtClean="0"/>
              <a:t>regionů (14denní data)</a:t>
            </a:r>
            <a:endParaRPr lang="cs-CZ" dirty="0"/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953" y="621792"/>
            <a:ext cx="11963400" cy="623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7581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</a:t>
            </a:r>
            <a:r>
              <a:rPr lang="cs-CZ" dirty="0" smtClean="0"/>
              <a:t>regionů (7denní data)</a:t>
            </a:r>
            <a:endParaRPr lang="cs-CZ" dirty="0"/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970" y="741441"/>
            <a:ext cx="11963400" cy="6214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9693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9557" y="2744109"/>
            <a:ext cx="4768041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9576271"/>
              </p:ext>
            </p:extLst>
          </p:nvPr>
        </p:nvGraphicFramePr>
        <p:xfrm>
          <a:off x="270230" y="1097989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 (zjednodušený výpočet) - 7 denní úseky: srovnání krajů k 19.6.</a:t>
            </a:r>
            <a:endParaRPr lang="cs-CZ" sz="2000" dirty="0">
              <a:latin typeface="+mn-lt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023810" y="2136164"/>
            <a:ext cx="519158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odnota reprodukčního čísla je &lt; 1 ve většině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rajů.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 Hlavním městě Praha je reprodukční číslo &gt; 1 vlivem</a:t>
            </a:r>
            <a:r>
              <a:rPr kumimoji="0" lang="cs-CZ" sz="20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fluktuací 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 záchytu nemocných, zatím nejde o trvalejší trend.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ituaci v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žádném regionu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elze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odnotit jako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louhodobě rizikovou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pidemie klesá a v důsledku toho se zmenšují rozdíly mezi regiony.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klesající virovou náloží nabývá na významu hodnocení rozdílů na úrovni okresů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18161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205116" y="1739629"/>
            <a:ext cx="11820525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kles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u="sng" dirty="0">
                <a:solidFill>
                  <a:srgbClr val="0000FF"/>
                </a:solidFill>
                <a:latin typeface="Calibri" panose="020F0502020204030204"/>
              </a:rPr>
              <a:t>pod</a:t>
            </a: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0 </a:t>
            </a: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ě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Relativní pozitivita indikovaných testů dosáhla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elmi nízkých a bezpečných hodnot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Významný je i pokles nově nakažených potenciálně zranitelných skupin obyvatel. V důsledku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ho významně klesá zátěž nemocnic.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rodukční číslo osciluje mezi 0,70 – 0,80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je nadále patrný u všech věkových kategorií dětí i dospělých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339526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stále zpomaluje, rovněž klesá zátěž nemocnic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339523" y="4477277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339523" y="602561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4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elativní pozitivita testů s diagnostickou/epidemiologickou indikací za 7 dní</a:t>
            </a:r>
            <a:endParaRPr lang="cs-CZ" sz="2000" dirty="0"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6D1E585-3993-416C-AF95-42C197FE79D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72D653-29BB-46C3-83F2-8221BA928DD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C80593F-C2D7-48EC-9C6F-8A8D60EF292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D4B11B-8579-446E-91AF-8288C6B4363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492057" y="765095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5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AB7E79-4343-403B-91F5-3309618E2A1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A0394B2-B166-4AEA-96C1-E480F847DCB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666868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5.202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06439" y="3111541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376050" y="1994745"/>
            <a:ext cx="3685507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y a klinicky indikovaných testů a testů z epidemiologické indikace  klesla od počátku května ve 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kraje vykazují hodnoty tohoto indikátoru pod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%.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klesající virovou náloží nabývá na významu hodnocení rozdílů na úrovni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kresů či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P,</a:t>
            </a:r>
            <a:r>
              <a:rPr kumimoji="0" lang="cs-CZ" sz="20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nikoli krajů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681979-8D7B-4CCB-B955-EFE9E629263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880431-BE22-4A6A-8973-100F5FFE2E4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.6.2021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A2E89090-251C-4582-88E7-CFD732AB9B26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145501395"/>
              </p:ext>
            </p:extLst>
          </p:nvPr>
        </p:nvGraphicFramePr>
        <p:xfrm>
          <a:off x="4961634" y="1118792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E0EBEBF9-86C6-4A1D-B71D-64BB3EF2536F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63754289"/>
              </p:ext>
            </p:extLst>
          </p:nvPr>
        </p:nvGraphicFramePr>
        <p:xfrm>
          <a:off x="224224" y="1118792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  <p:extLst>
      <p:ext uri="{BB962C8B-B14F-4D97-AF65-F5344CB8AC3E}">
        <p14:creationId xmlns:p14="http://schemas.microsoft.com/office/powerpoint/2010/main" val="151737340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symptomatické případy za 7 dní na 100 000 obyvatel</a:t>
            </a:r>
            <a:endParaRPr lang="cs-CZ" sz="2000" dirty="0">
              <a:latin typeface="+mn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919" y="3481117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75679849"/>
              </p:ext>
            </p:extLst>
          </p:nvPr>
        </p:nvGraphicFramePr>
        <p:xfrm>
          <a:off x="4961634" y="1118792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B0B522C-5BE7-400C-9C38-FFD78A223EB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82276774"/>
              </p:ext>
            </p:extLst>
          </p:nvPr>
        </p:nvGraphicFramePr>
        <p:xfrm>
          <a:off x="224224" y="1118792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790035" y="2665509"/>
            <a:ext cx="328418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nově diagnostikovaných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ípadů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 symptomy klesají v čase ve všech regionech.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žádném kraji nedosahuje celkový počet těchto případů v přepočtu na 100tis. obyvatel rizikových hodnot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457175" y="765095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E28A43B-B8CE-4CA0-9E62-5D1B340E18D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F95BB39-28E6-4D54-A5B9-0BD3C5428A1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13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4E86AA1-BE9C-4E9C-B5DD-5783E525570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84F8BAA-8239-4608-983C-EB290DED434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492057" y="765095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5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F02E39D-5C41-4DFD-9BB1-86EC9D3223A3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AB3E34B-A439-4715-8C2A-0A0FCB7FFE6D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666868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29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07D091E-7793-499C-982A-8833D6F4BB3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C3C4644-BCF4-4D5D-B09D-428A3734CFEA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.6.2021</a:t>
            </a:r>
          </a:p>
        </p:txBody>
      </p:sp>
    </p:spTree>
    <p:extLst>
      <p:ext uri="{BB962C8B-B14F-4D97-AF65-F5344CB8AC3E}">
        <p14:creationId xmlns:p14="http://schemas.microsoft.com/office/powerpoint/2010/main" val="250795545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Šipka dolů 5"/>
          <p:cNvSpPr/>
          <p:nvPr/>
        </p:nvSpPr>
        <p:spPr>
          <a:xfrm>
            <a:off x="5455937" y="2108129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539067" y="252752"/>
            <a:ext cx="11385451" cy="17018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 sledování úrovně rizika na úrovni okresů jsou v souladu s mezinárodními přístupy sledovány následující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rametry: celkový počet nových případů za 7 dní, reprodukční číslo (7denní časové okno) a relativní pozitivita indikovaných testů (7denní časové okno).*</a:t>
            </a:r>
            <a:endParaRPr kumimoji="0" lang="cs-CZ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539067" y="2737805"/>
            <a:ext cx="11385451" cy="17018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kumimoji="0" lang="cs-CZ" sz="2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o současnou epidemiologickou situaci se jeví jako relevantní hranice 7denního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počtu nových případů &gt; 12,5/100tis. obyvatel (pro vyšší </a:t>
            </a:r>
            <a:r>
              <a:rPr lang="cs-CZ" sz="2600" b="1" dirty="0">
                <a:solidFill>
                  <a:prstClr val="black"/>
                </a:solidFill>
              </a:rPr>
              <a:t>úroveň rizika &gt; 25/100tis. </a:t>
            </a:r>
            <a:r>
              <a:rPr lang="cs-CZ" sz="2600" b="1" dirty="0" smtClean="0">
                <a:solidFill>
                  <a:prstClr val="black"/>
                </a:solidFill>
              </a:rPr>
              <a:t>obyvatel) </a:t>
            </a:r>
            <a:r>
              <a:rPr lang="cs-CZ" sz="2600" b="1" dirty="0">
                <a:solidFill>
                  <a:prstClr val="black"/>
                </a:solidFill>
              </a:rPr>
              <a:t>spojená 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 hodnotou reprodukčního 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</a:rPr>
              <a:t>čísla </a:t>
            </a:r>
            <a:r>
              <a:rPr lang="cs-CZ" sz="2600" b="1" dirty="0" smtClean="0"/>
              <a:t>≥ 0,95 a/nebo s relativní pozitivitou indikovaných testů &gt; 4% (vše na bázi 7denního časového okna).* </a:t>
            </a:r>
            <a:endParaRPr kumimoji="0" lang="cs-CZ" sz="2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8" name="Přímá spojnice 7"/>
          <p:cNvCxnSpPr/>
          <p:nvPr/>
        </p:nvCxnSpPr>
        <p:spPr>
          <a:xfrm flipV="1">
            <a:off x="173113" y="4601702"/>
            <a:ext cx="12117355" cy="746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/>
        </p:nvSpPr>
        <p:spPr>
          <a:xfrm>
            <a:off x="332786" y="6071944"/>
            <a:ext cx="115917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dirty="0" smtClean="0">
                <a:hlinkClick r:id="rId3"/>
              </a:rPr>
              <a:t>https</a:t>
            </a:r>
            <a:r>
              <a:rPr lang="cs-CZ" dirty="0">
                <a:hlinkClick r:id="rId3"/>
              </a:rPr>
              <a:t>://</a:t>
            </a:r>
            <a:r>
              <a:rPr lang="cs-CZ" dirty="0" smtClean="0">
                <a:hlinkClick r:id="rId3"/>
              </a:rPr>
              <a:t>www.cdc.gov/coronavirus/2019-ncov/downloads/community/schools-childcare/indicators-thresholds-table.pdf</a:t>
            </a:r>
            <a:endParaRPr lang="cs-CZ" dirty="0" smtClean="0"/>
          </a:p>
          <a:p>
            <a:r>
              <a:rPr lang="cs-CZ" dirty="0">
                <a:hlinkClick r:id="rId4"/>
              </a:rPr>
              <a:t>https://</a:t>
            </a:r>
            <a:r>
              <a:rPr lang="cs-CZ" dirty="0" smtClean="0">
                <a:hlinkClick r:id="rId4"/>
              </a:rPr>
              <a:t>www.ecdc.europa.eu/en/covid-19/surveillance/surveillance-definitions</a:t>
            </a:r>
            <a:r>
              <a:rPr lang="cs-CZ" dirty="0" smtClean="0"/>
              <a:t> </a:t>
            </a:r>
            <a:endParaRPr lang="cs-CZ" dirty="0"/>
          </a:p>
        </p:txBody>
      </p:sp>
      <p:sp>
        <p:nvSpPr>
          <p:cNvPr id="17" name="Obdélník 16"/>
          <p:cNvSpPr/>
          <p:nvPr/>
        </p:nvSpPr>
        <p:spPr>
          <a:xfrm>
            <a:off x="332786" y="4761948"/>
            <a:ext cx="108590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dirty="0" smtClean="0"/>
              <a:t>* Při poklesu týdenního počtu nově diagnostikovaných případů pod 5/100tis. obyv.  bude jako robustnější ukazatel použito 14denní časové okno pro výpočet všech uvedených indikátorů.</a:t>
            </a:r>
            <a:endParaRPr lang="cs-CZ" dirty="0"/>
          </a:p>
        </p:txBody>
      </p:sp>
      <p:sp>
        <p:nvSpPr>
          <p:cNvPr id="18" name="Obdélník 17"/>
          <p:cNvSpPr/>
          <p:nvPr/>
        </p:nvSpPr>
        <p:spPr>
          <a:xfrm>
            <a:off x="332786" y="5782912"/>
            <a:ext cx="24950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dirty="0"/>
              <a:t>Relevantní zdroje, např.: </a:t>
            </a:r>
          </a:p>
        </p:txBody>
      </p:sp>
    </p:spTree>
    <p:extLst>
      <p:ext uri="{BB962C8B-B14F-4D97-AF65-F5344CB8AC3E}">
        <p14:creationId xmlns:p14="http://schemas.microsoft.com/office/powerpoint/2010/main" val="14842378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576394" y="65029"/>
            <a:ext cx="10562423" cy="20948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cs-CZ" sz="2600" b="1" dirty="0">
                <a:solidFill>
                  <a:prstClr val="black"/>
                </a:solidFill>
              </a:rPr>
              <a:t>Při sledování úrovně rizika na úrovni okresů jsou v souladu s mezinárodními </a:t>
            </a:r>
            <a:r>
              <a:rPr lang="cs-CZ" sz="2600" b="1" dirty="0" smtClean="0">
                <a:solidFill>
                  <a:prstClr val="black"/>
                </a:solidFill>
              </a:rPr>
              <a:t>přístupy </a:t>
            </a:r>
            <a:r>
              <a:rPr lang="cs-CZ" sz="2600" b="1" dirty="0">
                <a:solidFill>
                  <a:prstClr val="black"/>
                </a:solidFill>
              </a:rPr>
              <a:t>sledovány následující parametry: celkový počet nových případů za 7 dní, reprodukční číslo (7denní časové okno) a relativní pozitivita indikovaných testů (7denní časové okno</a:t>
            </a:r>
            <a:r>
              <a:rPr lang="cs-CZ" sz="2600" b="1" dirty="0" smtClean="0">
                <a:solidFill>
                  <a:prstClr val="black"/>
                </a:solidFill>
              </a:rPr>
              <a:t>).</a:t>
            </a:r>
            <a:endParaRPr lang="cs-CZ" sz="2600" b="1" dirty="0">
              <a:solidFill>
                <a:prstClr val="black"/>
              </a:solidFill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7445130" y="5904206"/>
            <a:ext cx="1720422" cy="47586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Tabulka 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1064906"/>
              </p:ext>
            </p:extLst>
          </p:nvPr>
        </p:nvGraphicFramePr>
        <p:xfrm>
          <a:off x="5152692" y="2286936"/>
          <a:ext cx="6305299" cy="1533525"/>
        </p:xfrm>
        <a:graphic>
          <a:graphicData uri="http://schemas.openxmlformats.org/drawingml/2006/table">
            <a:tbl>
              <a:tblPr/>
              <a:tblGrid>
                <a:gridCol w="6305299">
                  <a:extLst>
                    <a:ext uri="{9D8B030D-6E8A-4147-A177-3AD203B41FA5}">
                      <a16:colId xmlns:a16="http://schemas.microsoft.com/office/drawing/2014/main" val="1692043058"/>
                    </a:ext>
                  </a:extLst>
                </a:gridCol>
              </a:tblGrid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20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Žádný okres </a:t>
                      </a:r>
                      <a:r>
                        <a:rPr lang="cs-CZ" sz="2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nepřekročil k datu 20.6.</a:t>
                      </a:r>
                      <a:r>
                        <a:rPr lang="cs-CZ" sz="20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počet týdenních záchytů 25/100tis. obyv. při prorůstové hodnotě R </a:t>
                      </a:r>
                      <a:r>
                        <a:rPr lang="cs-CZ" sz="2000" b="1" dirty="0" smtClean="0">
                          <a:solidFill>
                            <a:srgbClr val="FF0000"/>
                          </a:solidFill>
                          <a:latin typeface="+mn-lt"/>
                        </a:rPr>
                        <a:t>≥ 0,95.</a:t>
                      </a:r>
                      <a:r>
                        <a:rPr lang="cs-CZ" sz="2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 K datu 20.6.</a:t>
                      </a:r>
                      <a:r>
                        <a:rPr lang="cs-CZ" sz="20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 překročily počet týdenních záchytů 12,5/100tis. obyv. při </a:t>
                      </a:r>
                      <a:r>
                        <a:rPr lang="cs-CZ" sz="20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R </a:t>
                      </a:r>
                      <a:r>
                        <a:rPr lang="cs-CZ" sz="2000" b="1" dirty="0" smtClean="0">
                          <a:solidFill>
                            <a:srgbClr val="FF0000"/>
                          </a:solidFill>
                          <a:latin typeface="+mn-lt"/>
                        </a:rPr>
                        <a:t>≥ </a:t>
                      </a:r>
                      <a:r>
                        <a:rPr lang="cs-CZ" sz="20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,95 tyto okresy: Příbram, Žďár n. Sázavou, Praha,  Mělník, Opava. 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697387"/>
                  </a:ext>
                </a:extLst>
              </a:tr>
            </a:tbl>
          </a:graphicData>
        </a:graphic>
      </p:graphicFrame>
      <p:sp>
        <p:nvSpPr>
          <p:cNvPr id="2" name="TextovéPole 1"/>
          <p:cNvSpPr txBox="1"/>
          <p:nvPr/>
        </p:nvSpPr>
        <p:spPr>
          <a:xfrm>
            <a:off x="236619" y="4058247"/>
            <a:ext cx="33463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cs-CZ" b="1" dirty="0"/>
          </a:p>
        </p:txBody>
      </p:sp>
      <p:sp>
        <p:nvSpPr>
          <p:cNvPr id="10" name="Šipka doprava 9"/>
          <p:cNvSpPr/>
          <p:nvPr/>
        </p:nvSpPr>
        <p:spPr>
          <a:xfrm>
            <a:off x="4010832" y="3154059"/>
            <a:ext cx="497698" cy="166965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" name="TextovéPole 10"/>
          <p:cNvSpPr txBox="1"/>
          <p:nvPr/>
        </p:nvSpPr>
        <p:spPr>
          <a:xfrm>
            <a:off x="384270" y="1894819"/>
            <a:ext cx="3412623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Situace na okresní úrovni je značně proměnlivá a okresy </a:t>
            </a:r>
          </a:p>
          <a:p>
            <a:r>
              <a:rPr lang="cs-CZ" dirty="0"/>
              <a:t>s potenciálně rizikovým vývojem epidemie se často mění. </a:t>
            </a:r>
            <a:r>
              <a:rPr lang="cs-CZ" b="1" dirty="0"/>
              <a:t>Dlouhodobě v žádném k okresů epidemie nekontrolovaně neroste</a:t>
            </a:r>
            <a:r>
              <a:rPr lang="cs-CZ" b="1" dirty="0" smtClean="0"/>
              <a:t>.</a:t>
            </a:r>
            <a:r>
              <a:rPr lang="cs-CZ" dirty="0"/>
              <a:t> Řada okresů se již dostává do velmi malých počtů denních záchytů nemoci a hodnota reprodukčního čísla tak značně kolísá. Z tohoto důvodu je třeba označení rizika na okresní úrovni nebo na úrovni ORP vnímat spíše jako časné varování a proměnlivou situaci sledovat</a:t>
            </a:r>
            <a:r>
              <a:rPr lang="cs-CZ" b="1" dirty="0"/>
              <a:t>. </a:t>
            </a:r>
          </a:p>
        </p:txBody>
      </p:sp>
      <p:graphicFrame>
        <p:nvGraphicFramePr>
          <p:cNvPr id="14" name="Tabulka 13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8063506"/>
              </p:ext>
            </p:extLst>
          </p:nvPr>
        </p:nvGraphicFramePr>
        <p:xfrm>
          <a:off x="5152692" y="4132895"/>
          <a:ext cx="6305299" cy="1533525"/>
        </p:xfrm>
        <a:graphic>
          <a:graphicData uri="http://schemas.openxmlformats.org/drawingml/2006/table">
            <a:tbl>
              <a:tblPr/>
              <a:tblGrid>
                <a:gridCol w="6305299">
                  <a:extLst>
                    <a:ext uri="{9D8B030D-6E8A-4147-A177-3AD203B41FA5}">
                      <a16:colId xmlns:a16="http://schemas.microsoft.com/office/drawing/2014/main" val="1692043058"/>
                    </a:ext>
                  </a:extLst>
                </a:gridCol>
              </a:tblGrid>
              <a:tr h="214240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20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Žádný okres </a:t>
                      </a:r>
                      <a:r>
                        <a:rPr lang="cs-CZ" sz="2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nepřekročil k 20.6.</a:t>
                      </a:r>
                      <a:r>
                        <a:rPr lang="cs-CZ" sz="20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počet týdenních záchytů 25/100tis. obyv. nebo 12,5/100tis. obyv. při relativní pozitivitě indikovaných testů &gt; 4%. Blízko k této rizikové hranici nyní stojí pouze Č. Krumlov (44/100tis. obyv. za 7 dní; relativní pozitivita testů. 3,53%). </a:t>
                      </a:r>
                      <a:endParaRPr lang="cs-CZ" sz="2000" b="1" i="0" u="none" strike="noStrike" baseline="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6973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0846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</a:t>
            </a:r>
            <a:r>
              <a:rPr lang="cs-CZ" sz="2000" dirty="0"/>
              <a:t>19</a:t>
            </a:r>
            <a:r>
              <a:rPr lang="pl-PL" sz="2000" dirty="0"/>
              <a:t>.6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1290477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4943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graphicFrame>
        <p:nvGraphicFramePr>
          <p:cNvPr id="14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8398924"/>
              </p:ext>
            </p:extLst>
          </p:nvPr>
        </p:nvGraphicFramePr>
        <p:xfrm>
          <a:off x="4989018" y="12077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56745" y="2091210"/>
            <a:ext cx="396791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louhodobě v čase signifikantně klesá i zátěž nejvíce zatížených okresů. Žádný z okresů</a:t>
            </a:r>
            <a:r>
              <a:rPr kumimoji="0" lang="cs-CZ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již nepřekračuje hodnotu týdenních kumulativních záchytů </a:t>
            </a:r>
            <a:r>
              <a:rPr lang="cs-CZ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  <a:r>
              <a:rPr kumimoji="0" lang="cs-CZ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/100tis</a:t>
            </a:r>
            <a:r>
              <a:rPr kumimoji="0" lang="cs-CZ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kumimoji="0" lang="cs-CZ" b="1" i="0" u="none" strike="noStrike" kern="1200" cap="none" spc="0" normalizeH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byv</a:t>
            </a:r>
            <a:r>
              <a:rPr lang="cs-CZ" b="1" dirty="0" err="1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el</a:t>
            </a:r>
            <a:r>
              <a:rPr lang="cs-CZ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ktuálně největší počet potvrzených záchytů nákazy na 100tis. obyv. </a:t>
            </a:r>
            <a:r>
              <a:rPr kumimoji="0" lang="cs-CZ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gistruje okres </a:t>
            </a: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Č. </a:t>
            </a:r>
            <a:r>
              <a:rPr kumimoji="0" lang="cs-CZ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rumlov</a:t>
            </a:r>
            <a:r>
              <a:rPr lang="cs-CZ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 i v tomto okrese </a:t>
            </a:r>
            <a:r>
              <a:rPr lang="cs-CZ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 záchyty postupně </a:t>
            </a:r>
            <a:r>
              <a:rPr lang="cs-CZ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esají.</a:t>
            </a:r>
            <a:endParaRPr kumimoji="0" lang="cs-CZ" b="1" i="0" u="none" strike="sngStrike" kern="1200" cap="none" spc="0" normalizeH="0" noProof="0" dirty="0">
              <a:ln>
                <a:noFill/>
              </a:ln>
              <a:solidFill>
                <a:srgbClr val="FF0000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D50BEE-CD8A-46F6-9446-C78BF9B455E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0547418-27A7-4D23-8E57-B7B3125E825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13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479794A-4E8A-458B-B3E9-3CD0D29F6ED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D06C6D7-C89C-40EC-8F95-B2DD802E134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92057" y="765095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5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252DA59-F3A1-4E04-8FDA-DE2C0404384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2FA2335-64D1-4E61-A09B-E82386934E7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666868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29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FF3B4FD-0AB4-40E2-85E9-CE4E09FA3F2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3CAD837-364B-4D07-BB24-0D00CC3A223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.6.2021</a:t>
            </a:r>
          </a:p>
        </p:txBody>
      </p:sp>
    </p:spTree>
    <p:extLst>
      <p:ext uri="{BB962C8B-B14F-4D97-AF65-F5344CB8AC3E}">
        <p14:creationId xmlns:p14="http://schemas.microsoft.com/office/powerpoint/2010/main" val="329157223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</a:t>
            </a:r>
            <a:r>
              <a:rPr lang="cs-CZ" sz="2000" dirty="0"/>
              <a:t>19</a:t>
            </a:r>
            <a:r>
              <a:rPr lang="pl-PL" sz="2000" dirty="0"/>
              <a:t>.6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0590453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4943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sp>
        <p:nvSpPr>
          <p:cNvPr id="9" name="TextovéPole 6">
            <a:extLst>
              <a:ext uri="{FF2B5EF4-FFF2-40B4-BE49-F238E27FC236}">
                <a16:creationId xmlns:a16="http://schemas.microsoft.com/office/drawing/2014/main" id="{9B45D4F8-61EE-403A-869D-55184481FC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171669" y="925059"/>
            <a:ext cx="34355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 (20 okresů s nejvyššími hodnotami)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27F0E65-C6B8-4A75-8D1B-D96D31B1B03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75497969"/>
              </p:ext>
            </p:extLst>
          </p:nvPr>
        </p:nvGraphicFramePr>
        <p:xfrm>
          <a:off x="5316142" y="1301175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76ACD2A0-0BE8-480D-A338-915B7AAB8F86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74165691"/>
              </p:ext>
            </p:extLst>
          </p:nvPr>
        </p:nvGraphicFramePr>
        <p:xfrm>
          <a:off x="8643509" y="1301175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2" name="TextovéPole 6">
            <a:extLst>
              <a:ext uri="{FF2B5EF4-FFF2-40B4-BE49-F238E27FC236}">
                <a16:creationId xmlns:a16="http://schemas.microsoft.com/office/drawing/2014/main" id="{FA5B2374-6BF8-4269-978D-62AC84EEE7B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43509" y="817715"/>
            <a:ext cx="34355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ýc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ologick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ých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 (%)</a:t>
            </a:r>
          </a:p>
        </p:txBody>
      </p:sp>
      <p:sp>
        <p:nvSpPr>
          <p:cNvPr id="13" name="TextovéPole 12"/>
          <p:cNvSpPr txBox="1"/>
          <p:nvPr>
            <p:custDataLst>
              <p:tags r:id="rId8"/>
            </p:custDataLst>
          </p:nvPr>
        </p:nvSpPr>
        <p:spPr>
          <a:xfrm>
            <a:off x="2745483" y="4802111"/>
            <a:ext cx="257065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dirty="0"/>
              <a:t>Zvýrazněny jsou okresy, </a:t>
            </a:r>
          </a:p>
          <a:p>
            <a:r>
              <a:rPr lang="cs-CZ" sz="1600" b="1" dirty="0"/>
              <a:t>u kterých je hodnota R &gt; 0,95 spojena s relativně vysokým počtem nově potvrzených záchytů </a:t>
            </a:r>
            <a:r>
              <a:rPr lang="cs-CZ" sz="1600" b="1" dirty="0" smtClean="0"/>
              <a:t>nemoci</a:t>
            </a:r>
            <a:r>
              <a:rPr lang="cs-CZ" sz="1600" b="1" dirty="0"/>
              <a:t> </a:t>
            </a:r>
            <a:r>
              <a:rPr lang="cs-CZ" sz="1600" b="1" dirty="0" smtClean="0"/>
              <a:t>(&gt; 12,5/100tis. obyv. za 7 dní)</a:t>
            </a:r>
            <a:endParaRPr lang="cs-CZ" sz="1600" b="1" dirty="0"/>
          </a:p>
        </p:txBody>
      </p:sp>
    </p:spTree>
    <p:extLst>
      <p:ext uri="{BB962C8B-B14F-4D97-AF65-F5344CB8AC3E}">
        <p14:creationId xmlns:p14="http://schemas.microsoft.com/office/powerpoint/2010/main" val="33110670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20 okresů s nejvyššími hodnotami R k </a:t>
            </a:r>
            <a:r>
              <a:rPr lang="cs-CZ" sz="2000" dirty="0"/>
              <a:t>19</a:t>
            </a:r>
            <a:r>
              <a:rPr lang="pl-PL" sz="2000" dirty="0"/>
              <a:t>.6. a jejich celková populační zátěž 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56563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51619" y="945486"/>
            <a:ext cx="34355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 (20 okresů s nejvyššími hodnotami)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468FC797-0E96-4C3E-B963-3453AA9DA65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20261083"/>
              </p:ext>
            </p:extLst>
          </p:nvPr>
        </p:nvGraphicFramePr>
        <p:xfrm>
          <a:off x="5360390" y="1256931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0" name="TextovéPole 6">
            <a:extLst>
              <a:ext uri="{FF2B5EF4-FFF2-40B4-BE49-F238E27FC236}">
                <a16:creationId xmlns:a16="http://schemas.microsoft.com/office/drawing/2014/main" id="{EC921A74-54AF-4962-AD3E-D7ADB3CF99F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360390" y="938290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3BE1024E-8C1A-45B3-BC41-BA091ED1B9DF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32093751"/>
              </p:ext>
            </p:extLst>
          </p:nvPr>
        </p:nvGraphicFramePr>
        <p:xfrm>
          <a:off x="8832230" y="1298633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2" name="TextovéPole 6">
            <a:extLst>
              <a:ext uri="{FF2B5EF4-FFF2-40B4-BE49-F238E27FC236}">
                <a16:creationId xmlns:a16="http://schemas.microsoft.com/office/drawing/2014/main" id="{6049A26A-3141-437F-BFC4-FCA8B37473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87757" y="817715"/>
            <a:ext cx="34355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ýc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ologick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ých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 (%)</a:t>
            </a:r>
          </a:p>
        </p:txBody>
      </p:sp>
      <p:sp>
        <p:nvSpPr>
          <p:cNvPr id="13" name="TextovéPole 12"/>
          <p:cNvSpPr txBox="1"/>
          <p:nvPr>
            <p:custDataLst>
              <p:tags r:id="rId8"/>
            </p:custDataLst>
          </p:nvPr>
        </p:nvSpPr>
        <p:spPr>
          <a:xfrm>
            <a:off x="2612117" y="4732264"/>
            <a:ext cx="279021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dirty="0"/>
              <a:t>Zvýrazněny jsou okresy, </a:t>
            </a:r>
          </a:p>
          <a:p>
            <a:r>
              <a:rPr lang="cs-CZ" sz="1600" b="1" dirty="0"/>
              <a:t>u kterých je hodnota R &gt; 0,95 spojena s relativně vysokým počtem nově potvrzených záchytů nemoci (&gt; 12,5/100tis. obyv. za 7 dní)</a:t>
            </a:r>
          </a:p>
        </p:txBody>
      </p:sp>
    </p:spTree>
    <p:extLst>
      <p:ext uri="{BB962C8B-B14F-4D97-AF65-F5344CB8AC3E}">
        <p14:creationId xmlns:p14="http://schemas.microsoft.com/office/powerpoint/2010/main" val="17369317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diagram&#10;&#10;Description automatically generated">
            <a:extLst>
              <a:ext uri="{FF2B5EF4-FFF2-40B4-BE49-F238E27FC236}">
                <a16:creationId xmlns:a16="http://schemas.microsoft.com/office/drawing/2014/main" id="{AA34812D-A59B-4467-8892-75281966452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835" y="726651"/>
            <a:ext cx="6944003" cy="4581446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u="sng" dirty="0"/>
              <a:t>Přehled okresů</a:t>
            </a:r>
            <a:r>
              <a:rPr lang="pl-PL" sz="2000" dirty="0"/>
              <a:t> s potenciálně rizikovými epidemickými hodnotami </a:t>
            </a:r>
            <a:br>
              <a:rPr lang="pl-PL" sz="2000" dirty="0"/>
            </a:br>
            <a:r>
              <a:rPr lang="pl-PL" sz="2000" dirty="0"/>
              <a:t>(kalkulace s hranicí týdenního záchytu 25 případů / 100tis. obyv.)</a:t>
            </a:r>
            <a:endParaRPr lang="cs-CZ" sz="2000" dirty="0"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9CE990-B476-48D3-9B51-BD51368C6C0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424877-C36B-476A-80A2-75A84432AC9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C83000-BE90-410D-BCEB-3BEC6AE0555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1925" y="649877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B73E81-14CA-4808-AA44-F71F2F14BCB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dirty="0"/>
              <a:t>7denní počty nových případů &gt; 25/100tis. obyv. a s R &lt; 0,95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557CE4-9D86-46E6-B551-9FD22B69FA0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7denní počty nových případů v intervalu 12,5 – 25/100tis. obyv. a s R ≥0,95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20F612-C5CB-4791-BE1D-DD2B112E2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b="1" dirty="0">
                <a:solidFill>
                  <a:srgbClr val="FF0000"/>
                </a:solidFill>
                <a:latin typeface="Arial" panose="020B0604020202020204"/>
              </a:rPr>
              <a:t>7denní počty nových případů &gt; 25/100tis. obyv. a zároveň s R ≥0,95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C43C3E8-C5A1-4534-9DCC-3A966C17E21F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</p:nvPr>
        </p:nvGraphicFramePr>
        <p:xfrm>
          <a:off x="9353550" y="2254290"/>
          <a:ext cx="2367915" cy="1703070"/>
        </p:xfrm>
        <a:graphic>
          <a:graphicData uri="http://schemas.openxmlformats.org/drawingml/2006/table">
            <a:tbl>
              <a:tblPr/>
              <a:tblGrid>
                <a:gridCol w="2367915">
                  <a:extLst>
                    <a:ext uri="{9D8B030D-6E8A-4147-A177-3AD203B41FA5}">
                      <a16:colId xmlns:a16="http://schemas.microsoft.com/office/drawing/2014/main" val="2025806962"/>
                    </a:ext>
                  </a:extLst>
                </a:gridCol>
              </a:tblGrid>
              <a:tr h="214240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602827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h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8937619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lní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81902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říbra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27683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Žďár nad Sázavou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800842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pav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67573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KRESY</a:t>
            </a:r>
          </a:p>
        </p:txBody>
      </p:sp>
      <p:graphicFrame>
        <p:nvGraphicFramePr>
          <p:cNvPr id="13" name="Tabulka 12"/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35756664"/>
              </p:ext>
            </p:extLst>
          </p:nvPr>
        </p:nvGraphicFramePr>
        <p:xfrm>
          <a:off x="7263041" y="4281078"/>
          <a:ext cx="4458424" cy="923925"/>
        </p:xfrm>
        <a:graphic>
          <a:graphicData uri="http://schemas.openxmlformats.org/drawingml/2006/table">
            <a:tbl>
              <a:tblPr/>
              <a:tblGrid>
                <a:gridCol w="4458424">
                  <a:extLst>
                    <a:ext uri="{9D8B030D-6E8A-4147-A177-3AD203B41FA5}">
                      <a16:colId xmlns:a16="http://schemas.microsoft.com/office/drawing/2014/main" val="1692043058"/>
                    </a:ext>
                  </a:extLst>
                </a:gridCol>
              </a:tblGrid>
              <a:tr h="2142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2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Žádný okres nepřekročil </a:t>
                      </a:r>
                    </a:p>
                    <a:p>
                      <a:pPr algn="ctr" rtl="0" fontAlgn="t"/>
                      <a:r>
                        <a:rPr lang="cs-CZ" sz="2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 19.6.</a:t>
                      </a:r>
                      <a:r>
                        <a:rPr lang="cs-CZ" sz="20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počet týdenních záchytů 25/100tis. obyv. při prorůstové hodnotě R</a:t>
                      </a:r>
                      <a:endParaRPr lang="cs-CZ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6973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44914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97517A17-F201-408B-ABE4-B856F027163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650" y="775789"/>
            <a:ext cx="7216564" cy="4761274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u="sng" dirty="0"/>
              <a:t>Přehled ORP</a:t>
            </a:r>
            <a:r>
              <a:rPr lang="pl-PL" sz="2000" dirty="0"/>
              <a:t> s potenciálně rizikovými epidemickými hodnotami</a:t>
            </a:r>
            <a:br>
              <a:rPr lang="pl-PL" sz="2000" dirty="0"/>
            </a:br>
            <a:r>
              <a:rPr lang="pl-PL" sz="2000" dirty="0"/>
              <a:t>(kalkulace s hranicí týdenního záchytu 25 případů / 100tis. obyv.)</a:t>
            </a:r>
            <a:endParaRPr lang="cs-CZ" sz="2000" dirty="0"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547D1FE-666E-4918-84B0-8DF08342831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887356-6FF3-46F8-91DC-C5A4EAEF2DA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95E618F-230C-480A-AFD6-92B23C806F3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1925" y="649877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06B787-E621-45F3-8AD2-4A0E9A111C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dirty="0"/>
              <a:t>7denní počty nových případů &gt; 25/100tis. obyv. a s R &lt; 0,95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AE28D02-B0EC-47DD-A50F-BF0460A5DA2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7denní počty nových případů v intervalu 12,5 – 25/100tis. obyv. a s R ≥0,95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B1A4AC8-EF49-4B39-ADF0-D3040A07093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b="1" dirty="0">
                <a:solidFill>
                  <a:srgbClr val="FF0000"/>
                </a:solidFill>
                <a:latin typeface="Arial" panose="020B0604020202020204"/>
              </a:rPr>
              <a:t>7denní počty nových případů &gt; 25/100tis. obyv. a zároveň s R ≥0,95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D7F67D5-8C47-41BA-B2FF-3C4ADE14FA8C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</p:nvPr>
        </p:nvGraphicFramePr>
        <p:xfrm>
          <a:off x="8971175" y="897467"/>
          <a:ext cx="2303577" cy="5601312"/>
        </p:xfrm>
        <a:graphic>
          <a:graphicData uri="http://schemas.openxmlformats.org/drawingml/2006/table">
            <a:tbl>
              <a:tblPr/>
              <a:tblGrid>
                <a:gridCol w="2303577">
                  <a:extLst>
                    <a:ext uri="{9D8B030D-6E8A-4147-A177-3AD203B41FA5}">
                      <a16:colId xmlns:a16="http://schemas.microsoft.com/office/drawing/2014/main" val="77654287"/>
                    </a:ext>
                  </a:extLst>
                </a:gridCol>
              </a:tblGrid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dlčan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9583239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0002633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š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116058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h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647376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ladn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5515927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lní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6605302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ymbur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1980924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říbra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7558498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Říčan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919371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ač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72710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trakon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3087354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ach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698060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rasl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617129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Železný Bro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6878661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linsk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096793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ové Město na Moravě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9569345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elké Meziříč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820090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Žďár nad Sázavou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700989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uři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0742387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os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5835423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Zlí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8040004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renštát pod Radhoště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0519033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ravař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6718609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děbrad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860577"/>
                  </a:ext>
                </a:extLst>
              </a:tr>
            </a:tbl>
          </a:graphicData>
        </a:graphic>
      </p:graphicFrame>
      <p:sp>
        <p:nvSpPr>
          <p:cNvPr id="11" name="TextovéPole 10"/>
          <p:cNvSpPr txBox="1"/>
          <p:nvPr/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RP</a:t>
            </a:r>
          </a:p>
        </p:txBody>
      </p:sp>
    </p:spTree>
    <p:extLst>
      <p:ext uri="{BB962C8B-B14F-4D97-AF65-F5344CB8AC3E}">
        <p14:creationId xmlns:p14="http://schemas.microsoft.com/office/powerpoint/2010/main" val="37341513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u="sng" dirty="0"/>
              <a:t>Přehled okresů</a:t>
            </a:r>
            <a:r>
              <a:rPr lang="pl-PL" sz="2000" dirty="0"/>
              <a:t> s potenciálně rizikovými epidemickými hodnotami </a:t>
            </a:r>
            <a:br>
              <a:rPr lang="pl-PL" sz="2000" dirty="0"/>
            </a:br>
            <a:r>
              <a:rPr lang="pl-PL" sz="2000" dirty="0"/>
              <a:t>(kalkulace s hranicí týdenního záchytu </a:t>
            </a:r>
            <a:r>
              <a:rPr lang="pl-PL" sz="2000" dirty="0" smtClean="0"/>
              <a:t>12,5 </a:t>
            </a:r>
            <a:r>
              <a:rPr lang="pl-PL" sz="2000" dirty="0"/>
              <a:t>případů / 100tis. obyv.)</a:t>
            </a:r>
            <a:endParaRPr lang="cs-CZ" sz="2000" dirty="0">
              <a:latin typeface="+mn-lt"/>
            </a:endParaRPr>
          </a:p>
        </p:txBody>
      </p:sp>
      <p:pic>
        <p:nvPicPr>
          <p:cNvPr id="27" name="Picture 4" descr="Map&#10;&#10;Description automatically generated">
            <a:extLst>
              <a:ext uri="{FF2B5EF4-FFF2-40B4-BE49-F238E27FC236}">
                <a16:creationId xmlns:a16="http://schemas.microsoft.com/office/drawing/2014/main" id="{ADB14EF2-4058-497A-A845-818E36D3EB3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25" y="710682"/>
            <a:ext cx="7671236" cy="5061253"/>
          </a:xfrm>
          <a:prstGeom prst="rect">
            <a:avLst/>
          </a:prstGeom>
        </p:spPr>
      </p:pic>
      <p:graphicFrame>
        <p:nvGraphicFramePr>
          <p:cNvPr id="28" name="Table 1">
            <a:extLst>
              <a:ext uri="{FF2B5EF4-FFF2-40B4-BE49-F238E27FC236}">
                <a16:creationId xmlns:a16="http://schemas.microsoft.com/office/drawing/2014/main" id="{AC43C3E8-C5A1-4534-9DCC-3A966C17E21F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57021520"/>
              </p:ext>
            </p:extLst>
          </p:nvPr>
        </p:nvGraphicFramePr>
        <p:xfrm>
          <a:off x="8977785" y="864493"/>
          <a:ext cx="2062127" cy="4523273"/>
        </p:xfrm>
        <a:graphic>
          <a:graphicData uri="http://schemas.openxmlformats.org/drawingml/2006/table">
            <a:tbl>
              <a:tblPr/>
              <a:tblGrid>
                <a:gridCol w="2062127">
                  <a:extLst>
                    <a:ext uri="{9D8B030D-6E8A-4147-A177-3AD203B41FA5}">
                      <a16:colId xmlns:a16="http://schemas.microsoft.com/office/drawing/2014/main" val="2025806962"/>
                    </a:ext>
                  </a:extLst>
                </a:gridCol>
              </a:tblGrid>
              <a:tr h="238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kon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602827"/>
                  </a:ext>
                </a:extLst>
              </a:tr>
              <a:tr h="238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ch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8937619"/>
                  </a:ext>
                </a:extLst>
              </a:tr>
              <a:tr h="238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y Var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81902"/>
                  </a:ext>
                </a:extLst>
              </a:tr>
              <a:tr h="238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un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27683"/>
                  </a:ext>
                </a:extLst>
              </a:tr>
              <a:tr h="238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800842"/>
                  </a:ext>
                </a:extLst>
              </a:tr>
              <a:tr h="238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untál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67573"/>
                  </a:ext>
                </a:extLst>
              </a:tr>
              <a:tr h="238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ymbur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2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209254"/>
                  </a:ext>
                </a:extLst>
              </a:tr>
              <a:tr h="238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2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444811"/>
                  </a:ext>
                </a:extLst>
              </a:tr>
              <a:tr h="238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2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765409"/>
                  </a:ext>
                </a:extLst>
              </a:tr>
              <a:tr h="238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latov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2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919642"/>
                  </a:ext>
                </a:extLst>
              </a:tr>
              <a:tr h="238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iber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2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09603"/>
                  </a:ext>
                </a:extLst>
              </a:tr>
              <a:tr h="238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avlíčkův Bro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2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52731"/>
                  </a:ext>
                </a:extLst>
              </a:tr>
              <a:tr h="238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Šumper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2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86122"/>
                  </a:ext>
                </a:extLst>
              </a:tr>
              <a:tr h="238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Zlí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2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258216"/>
                  </a:ext>
                </a:extLst>
              </a:tr>
              <a:tr h="238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h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644065"/>
                  </a:ext>
                </a:extLst>
              </a:tr>
              <a:tr h="238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lní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749020"/>
                  </a:ext>
                </a:extLst>
              </a:tr>
              <a:tr h="238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říbra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9324032"/>
                  </a:ext>
                </a:extLst>
              </a:tr>
              <a:tr h="238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Žďár nad Sázavou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8171516"/>
                  </a:ext>
                </a:extLst>
              </a:tr>
              <a:tr h="238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pav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3539089"/>
                  </a:ext>
                </a:extLst>
              </a:tr>
            </a:tbl>
          </a:graphicData>
        </a:graphic>
      </p:graphicFrame>
      <p:sp>
        <p:nvSpPr>
          <p:cNvPr id="29" name="TextovéPole 28"/>
          <p:cNvSpPr txBox="1"/>
          <p:nvPr/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prstClr val="black"/>
                </a:solidFill>
                <a:latin typeface="Calibri" panose="020F0502020204030204"/>
              </a:rPr>
              <a:t>OKRESY</a:t>
            </a:r>
          </a:p>
        </p:txBody>
      </p:sp>
      <p:sp>
        <p:nvSpPr>
          <p:cNvPr id="30" name="Rectangle 4">
            <a:extLst>
              <a:ext uri="{FF2B5EF4-FFF2-40B4-BE49-F238E27FC236}">
                <a16:creationId xmlns:a16="http://schemas.microsoft.com/office/drawing/2014/main" id="{0B3310DB-6440-4D99-B7E9-30433A28191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1925" y="5718841"/>
            <a:ext cx="180000" cy="180000"/>
          </a:xfrm>
          <a:prstGeom prst="rect">
            <a:avLst/>
          </a:prstGeom>
          <a:solidFill>
            <a:srgbClr val="D0CCCE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11">
            <a:extLst>
              <a:ext uri="{FF2B5EF4-FFF2-40B4-BE49-F238E27FC236}">
                <a16:creationId xmlns:a16="http://schemas.microsoft.com/office/drawing/2014/main" id="{F43A6F6A-7757-416F-A3D5-7EF7F127975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51925" y="6090996"/>
            <a:ext cx="180000" cy="180000"/>
          </a:xfrm>
          <a:prstGeom prst="rect">
            <a:avLst/>
          </a:prstGeom>
          <a:solidFill>
            <a:srgbClr val="595353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angle 13">
            <a:extLst>
              <a:ext uri="{FF2B5EF4-FFF2-40B4-BE49-F238E27FC236}">
                <a16:creationId xmlns:a16="http://schemas.microsoft.com/office/drawing/2014/main" id="{4B3D4470-8DBA-4565-BDE2-E1411E8D36B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51925" y="6491139"/>
            <a:ext cx="180000" cy="180000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Box 6">
            <a:extLst>
              <a:ext uri="{FF2B5EF4-FFF2-40B4-BE49-F238E27FC236}">
                <a16:creationId xmlns:a16="http://schemas.microsoft.com/office/drawing/2014/main" id="{D650C9B1-A3B1-4437-86D7-17CBE660EB6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17650" y="562417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 &gt; 1,2 při 7denních počtech nových případů &lt; 12,5/100tis. obyv. </a:t>
            </a: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8F5E6BC0-C78E-4C71-984A-37857A89274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17650" y="602315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prstClr val="black"/>
                </a:solidFill>
                <a:latin typeface="Calibri" panose="020F0502020204030204"/>
              </a:rPr>
              <a:t>7denní počty nových případů &gt; 12,5/100tis. obyv. a zároveň s R &lt; 0,95 </a:t>
            </a:r>
          </a:p>
        </p:txBody>
      </p:sp>
      <p:sp>
        <p:nvSpPr>
          <p:cNvPr id="35" name="TextBox 15">
            <a:extLst>
              <a:ext uri="{FF2B5EF4-FFF2-40B4-BE49-F238E27FC236}">
                <a16:creationId xmlns:a16="http://schemas.microsoft.com/office/drawing/2014/main" id="{5C282CF5-5E78-490D-B515-2E1E34EA373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17650" y="639248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7denní počty nových případů &gt; 12,5/100tis. obyv. a zároveň s R ≥ 0,95</a:t>
            </a:r>
          </a:p>
        </p:txBody>
      </p:sp>
    </p:spTree>
    <p:extLst>
      <p:ext uri="{BB962C8B-B14F-4D97-AF65-F5344CB8AC3E}">
        <p14:creationId xmlns:p14="http://schemas.microsoft.com/office/powerpoint/2010/main" val="37713495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6833989"/>
              </p:ext>
            </p:extLst>
          </p:nvPr>
        </p:nvGraphicFramePr>
        <p:xfrm>
          <a:off x="1392507" y="1602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3842" y="873810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ospělých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znamně i v kategoriích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iorního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ěku –</a:t>
            </a:r>
            <a:r>
              <a:rPr kumimoji="0" lang="cs-CZ" sz="2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200" b="1" i="0" u="sng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liv očkování 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12758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u="sng" dirty="0"/>
              <a:t>Přehled </a:t>
            </a:r>
            <a:r>
              <a:rPr lang="pl-PL" sz="2000" u="sng" dirty="0" smtClean="0"/>
              <a:t>ORP</a:t>
            </a:r>
            <a:r>
              <a:rPr lang="pl-PL" sz="2000" dirty="0" smtClean="0"/>
              <a:t> </a:t>
            </a:r>
            <a:r>
              <a:rPr lang="pl-PL" sz="2000" dirty="0"/>
              <a:t>s potenciálně rizikovými epidemickými hodnotami </a:t>
            </a:r>
            <a:br>
              <a:rPr lang="pl-PL" sz="2000" dirty="0"/>
            </a:br>
            <a:r>
              <a:rPr lang="pl-PL" sz="2000" dirty="0"/>
              <a:t>(kalkulace s hranicí týdenního záchytu </a:t>
            </a:r>
            <a:r>
              <a:rPr lang="pl-PL" sz="2000" dirty="0" smtClean="0"/>
              <a:t>12,5 </a:t>
            </a:r>
            <a:r>
              <a:rPr lang="pl-PL" sz="2000" dirty="0"/>
              <a:t>případů / 100tis. obyv.)</a:t>
            </a:r>
            <a:endParaRPr lang="cs-CZ" sz="2000" dirty="0">
              <a:latin typeface="+mn-lt"/>
            </a:endParaRPr>
          </a:p>
        </p:txBody>
      </p:sp>
      <p:pic>
        <p:nvPicPr>
          <p:cNvPr id="12" name="Picture 2" descr="A picture containing toy&#10;&#10;Description automatically generated">
            <a:extLst>
              <a:ext uri="{FF2B5EF4-FFF2-40B4-BE49-F238E27FC236}">
                <a16:creationId xmlns:a16="http://schemas.microsoft.com/office/drawing/2014/main" id="{19632083-F489-47DC-AECC-554AD624293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98" y="787522"/>
            <a:ext cx="7474299" cy="4931319"/>
          </a:xfrm>
          <a:prstGeom prst="rect">
            <a:avLst/>
          </a:prstGeom>
        </p:spPr>
      </p:pic>
      <p:sp>
        <p:nvSpPr>
          <p:cNvPr id="13" name="TextovéPole 12"/>
          <p:cNvSpPr txBox="1"/>
          <p:nvPr/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RP</a:t>
            </a: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D91D0A08-BEB2-437C-9414-DC6C39A844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51925" y="571884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E62157A4-DDE6-4012-81C4-2A0C267BC12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1925" y="609099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A992A7BD-6D5B-4F0E-A8BD-0543F9CF95A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51925" y="649113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03A7965-BBAF-434E-BEFB-27903A03CFF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17650" y="5624175"/>
            <a:ext cx="6980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noProof="0" dirty="0"/>
              <a:t>R &gt; 1,2 při </a:t>
            </a:r>
            <a:r>
              <a:rPr lang="cs-CZ" dirty="0"/>
              <a:t>7denních počtech nových případů &lt; 12,5/100tis. obyv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4">
            <a:extLst>
              <a:ext uri="{FF2B5EF4-FFF2-40B4-BE49-F238E27FC236}">
                <a16:creationId xmlns:a16="http://schemas.microsoft.com/office/drawing/2014/main" id="{4E2F5F7D-D0BC-44BF-9D8B-9CC577DC3D1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17650" y="602315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7denní počty nových případů &gt; 12,5/100tis. obyv. a zároveň s R &lt;0,95 </a:t>
            </a:r>
          </a:p>
        </p:txBody>
      </p:sp>
      <p:sp>
        <p:nvSpPr>
          <p:cNvPr id="19" name="TextBox 15">
            <a:extLst>
              <a:ext uri="{FF2B5EF4-FFF2-40B4-BE49-F238E27FC236}">
                <a16:creationId xmlns:a16="http://schemas.microsoft.com/office/drawing/2014/main" id="{0F1D4B87-C3BD-47FD-892F-0982E806691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17650" y="639248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b="1" dirty="0">
                <a:solidFill>
                  <a:srgbClr val="FF0000"/>
                </a:solidFill>
                <a:latin typeface="Arial" panose="020B0604020202020204"/>
              </a:rPr>
              <a:t>7denní počty nových případů &gt; 12,5/100tis. obyv. a zároveň s R ≥0,95</a:t>
            </a:r>
          </a:p>
        </p:txBody>
      </p:sp>
      <p:graphicFrame>
        <p:nvGraphicFramePr>
          <p:cNvPr id="20" name="Table 4">
            <a:extLst>
              <a:ext uri="{FF2B5EF4-FFF2-40B4-BE49-F238E27FC236}">
                <a16:creationId xmlns:a16="http://schemas.microsoft.com/office/drawing/2014/main" id="{70D2DB62-5501-4010-9BF0-69CCDED4D627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794906656"/>
              </p:ext>
            </p:extLst>
          </p:nvPr>
        </p:nvGraphicFramePr>
        <p:xfrm>
          <a:off x="8696819" y="869294"/>
          <a:ext cx="2425450" cy="52217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25450">
                  <a:extLst>
                    <a:ext uri="{9D8B030D-6E8A-4147-A177-3AD203B41FA5}">
                      <a16:colId xmlns:a16="http://schemas.microsoft.com/office/drawing/2014/main" val="1458768259"/>
                    </a:ext>
                  </a:extLst>
                </a:gridCol>
              </a:tblGrid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ha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8146774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ladno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0658245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lník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4120824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ymburk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400392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děbrady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6124735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říbram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067044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Říčany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4963673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ačice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1458678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trakonice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9730277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achov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6884206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raslice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771248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Železný Brod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479483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linsko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5250430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ové Město na Moravě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5189542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elké Meziříčí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466936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Žďár nad Sázavou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414109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uřim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994339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osice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0899006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Zlín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1877877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renštát pod Radhoštěm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2402384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ravaře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4893258"/>
                  </a:ext>
                </a:extLst>
              </a:tr>
              <a:tr h="237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ha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31918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519326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u="sng" dirty="0"/>
              <a:t>Přehled </a:t>
            </a:r>
            <a:r>
              <a:rPr lang="pl-PL" sz="2000" u="sng" dirty="0" smtClean="0"/>
              <a:t>ORP</a:t>
            </a:r>
            <a:r>
              <a:rPr lang="pl-PL" sz="2000" dirty="0" smtClean="0"/>
              <a:t> </a:t>
            </a:r>
            <a:r>
              <a:rPr lang="pl-PL" sz="2000" dirty="0"/>
              <a:t>s potenciálně rizikovými epidemickými hodnotami </a:t>
            </a:r>
            <a:br>
              <a:rPr lang="pl-PL" sz="2000" dirty="0"/>
            </a:br>
            <a:r>
              <a:rPr lang="pl-PL" sz="2000" dirty="0"/>
              <a:t>(kalkulace s hranicí týdenního záchytu </a:t>
            </a:r>
            <a:r>
              <a:rPr lang="pl-PL" sz="2000" dirty="0" smtClean="0"/>
              <a:t>12,5 </a:t>
            </a:r>
            <a:r>
              <a:rPr lang="pl-PL" sz="2000" dirty="0"/>
              <a:t>případů / 100tis. obyv.)</a:t>
            </a:r>
            <a:endParaRPr lang="cs-CZ" sz="2000" dirty="0">
              <a:latin typeface="+mn-lt"/>
            </a:endParaRPr>
          </a:p>
        </p:txBody>
      </p:sp>
      <p:pic>
        <p:nvPicPr>
          <p:cNvPr id="21" name="Picture 20" descr="A picture containing toy&#10;&#10;Description automatically generated">
            <a:extLst>
              <a:ext uri="{FF2B5EF4-FFF2-40B4-BE49-F238E27FC236}">
                <a16:creationId xmlns:a16="http://schemas.microsoft.com/office/drawing/2014/main" id="{6732435C-4F66-441E-9A95-FCE8C0BEE92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98" y="787522"/>
            <a:ext cx="7474299" cy="4931319"/>
          </a:xfrm>
          <a:prstGeom prst="rect">
            <a:avLst/>
          </a:prstGeom>
        </p:spPr>
      </p:pic>
      <p:sp>
        <p:nvSpPr>
          <p:cNvPr id="22" name="TextovéPole 21"/>
          <p:cNvSpPr txBox="1"/>
          <p:nvPr/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RP</a:t>
            </a:r>
          </a:p>
        </p:txBody>
      </p:sp>
      <p:sp>
        <p:nvSpPr>
          <p:cNvPr id="24" name="Rectangle 4">
            <a:extLst>
              <a:ext uri="{FF2B5EF4-FFF2-40B4-BE49-F238E27FC236}">
                <a16:creationId xmlns:a16="http://schemas.microsoft.com/office/drawing/2014/main" id="{D91D0A08-BEB2-437C-9414-DC6C39A844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51925" y="571884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angle 11">
            <a:extLst>
              <a:ext uri="{FF2B5EF4-FFF2-40B4-BE49-F238E27FC236}">
                <a16:creationId xmlns:a16="http://schemas.microsoft.com/office/drawing/2014/main" id="{E62157A4-DDE6-4012-81C4-2A0C267BC12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1925" y="609099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13">
            <a:extLst>
              <a:ext uri="{FF2B5EF4-FFF2-40B4-BE49-F238E27FC236}">
                <a16:creationId xmlns:a16="http://schemas.microsoft.com/office/drawing/2014/main" id="{A992A7BD-6D5B-4F0E-A8BD-0543F9CF95A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51925" y="649113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6">
            <a:extLst>
              <a:ext uri="{FF2B5EF4-FFF2-40B4-BE49-F238E27FC236}">
                <a16:creationId xmlns:a16="http://schemas.microsoft.com/office/drawing/2014/main" id="{C03A7965-BBAF-434E-BEFB-27903A03CFF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17650" y="5624175"/>
            <a:ext cx="6980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noProof="0" dirty="0"/>
              <a:t>R &gt; 1,2 při </a:t>
            </a:r>
            <a:r>
              <a:rPr lang="cs-CZ" dirty="0"/>
              <a:t>7denních počtech nových případů &lt; 12,5/100tis. obyv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4E2F5F7D-D0BC-44BF-9D8B-9CC577DC3D1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17650" y="602315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7denní počty nových případů &gt; 12,5/100tis. obyv. a zároveň s R &lt;0,95 </a:t>
            </a:r>
          </a:p>
        </p:txBody>
      </p:sp>
      <p:sp>
        <p:nvSpPr>
          <p:cNvPr id="29" name="TextBox 15">
            <a:extLst>
              <a:ext uri="{FF2B5EF4-FFF2-40B4-BE49-F238E27FC236}">
                <a16:creationId xmlns:a16="http://schemas.microsoft.com/office/drawing/2014/main" id="{0F1D4B87-C3BD-47FD-892F-0982E806691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17650" y="639248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b="1" dirty="0">
                <a:solidFill>
                  <a:srgbClr val="FF0000"/>
                </a:solidFill>
                <a:latin typeface="Arial" panose="020B0604020202020204"/>
              </a:rPr>
              <a:t>7denní počty nových případů &gt; 12,5/100tis. obyv. a zároveň s R ≥0,95</a:t>
            </a:r>
          </a:p>
        </p:txBody>
      </p:sp>
      <p:graphicFrame>
        <p:nvGraphicFramePr>
          <p:cNvPr id="30" name="Table 16">
            <a:extLst>
              <a:ext uri="{FF2B5EF4-FFF2-40B4-BE49-F238E27FC236}">
                <a16:creationId xmlns:a16="http://schemas.microsoft.com/office/drawing/2014/main" id="{D3B2EC70-A6B3-4F03-86A7-FBE16293EDF2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982416550"/>
              </p:ext>
            </p:extLst>
          </p:nvPr>
        </p:nvGraphicFramePr>
        <p:xfrm>
          <a:off x="10216888" y="1181647"/>
          <a:ext cx="1796591" cy="1986870"/>
        </p:xfrm>
        <a:graphic>
          <a:graphicData uri="http://schemas.openxmlformats.org/drawingml/2006/table">
            <a:tbl>
              <a:tblPr/>
              <a:tblGrid>
                <a:gridCol w="1796591">
                  <a:extLst>
                    <a:ext uri="{9D8B030D-6E8A-4147-A177-3AD203B41FA5}">
                      <a16:colId xmlns:a16="http://schemas.microsoft.com/office/drawing/2014/main" val="77654287"/>
                    </a:ext>
                  </a:extLst>
                </a:gridCol>
              </a:tblGrid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lí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0002633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ratov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116058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y Var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647376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5515927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ran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6605302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tovel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1980924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ternber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7558498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hačov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806444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untál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8576667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n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116244"/>
                  </a:ext>
                </a:extLst>
              </a:tr>
            </a:tbl>
          </a:graphicData>
        </a:graphic>
      </p:graphicFrame>
      <p:graphicFrame>
        <p:nvGraphicFramePr>
          <p:cNvPr id="31" name="Table 1">
            <a:extLst>
              <a:ext uri="{FF2B5EF4-FFF2-40B4-BE49-F238E27FC236}">
                <a16:creationId xmlns:a16="http://schemas.microsoft.com/office/drawing/2014/main" id="{15EA0357-D795-4FBD-B7CF-8144F1640D7A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36702467"/>
              </p:ext>
            </p:extLst>
          </p:nvPr>
        </p:nvGraphicFramePr>
        <p:xfrm>
          <a:off x="8275283" y="1181647"/>
          <a:ext cx="1796591" cy="33727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96591">
                  <a:extLst>
                    <a:ext uri="{9D8B030D-6E8A-4147-A177-3AD203B41FA5}">
                      <a16:colId xmlns:a16="http://schemas.microsoft.com/office/drawing/2014/main" val="3723391018"/>
                    </a:ext>
                  </a:extLst>
                </a:gridCol>
              </a:tblGrid>
              <a:tr h="21079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edlčany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6771681"/>
                  </a:ext>
                </a:extLst>
              </a:tr>
              <a:tr h="21079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otice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0817373"/>
                  </a:ext>
                </a:extLst>
              </a:tr>
              <a:tr h="21079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0874995"/>
                  </a:ext>
                </a:extLst>
              </a:tr>
              <a:tr h="21079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2180887"/>
                  </a:ext>
                </a:extLst>
              </a:tr>
              <a:tr h="21079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aplice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1576425"/>
                  </a:ext>
                </a:extLst>
              </a:tr>
              <a:tr h="21079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lovice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2152870"/>
                  </a:ext>
                </a:extLst>
              </a:tr>
              <a:tr h="21079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oršovský Týn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0702771"/>
                  </a:ext>
                </a:extLst>
              </a:tr>
              <a:tr h="21079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ušice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2791691"/>
                  </a:ext>
                </a:extLst>
              </a:tr>
              <a:tr h="21079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adaň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3968208"/>
                  </a:ext>
                </a:extLst>
              </a:tr>
              <a:tr h="21079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arnsdorf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9428075"/>
                  </a:ext>
                </a:extLst>
              </a:tr>
              <a:tr h="21079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iberec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5472233"/>
                  </a:ext>
                </a:extLst>
              </a:tr>
              <a:tr h="21079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avlíčkův Brod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3577125"/>
                  </a:ext>
                </a:extLst>
              </a:tr>
              <a:tr h="21079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elč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3199450"/>
                  </a:ext>
                </a:extLst>
              </a:tr>
              <a:tr h="21079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Šumperk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2796017"/>
                  </a:ext>
                </a:extLst>
              </a:tr>
              <a:tr h="21079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izovice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279507"/>
                  </a:ext>
                </a:extLst>
              </a:tr>
              <a:tr h="21079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lučín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8841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727684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Vybrané závěry prediktivních </a:t>
            </a:r>
          </a:p>
          <a:p>
            <a:r>
              <a:rPr lang="cs-CZ" sz="5000" b="1" dirty="0"/>
              <a:t>populačních modelů </a:t>
            </a:r>
          </a:p>
        </p:txBody>
      </p:sp>
    </p:spTree>
    <p:extLst>
      <p:ext uri="{BB962C8B-B14F-4D97-AF65-F5344CB8AC3E}">
        <p14:creationId xmlns:p14="http://schemas.microsoft.com/office/powerpoint/2010/main" val="284164130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231940" y="2784875"/>
            <a:ext cx="1178526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Reálná data a vývoj epidemie dosud potvrzují, že rozvolnění </a:t>
            </a:r>
          </a:p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v dubnu a v květnu se na vývoji epidemie neprojevilo, situace je stabilní. V důsledku postupující vakcinace lze očekávat, že 7denní počet nově potvrzených případů bude dále významně klesat. </a:t>
            </a:r>
          </a:p>
          <a:p>
            <a:pPr lvl="0" algn="ctr">
              <a:defRPr/>
            </a:pPr>
            <a:endParaRPr lang="cs-CZ" sz="3200" b="1" dirty="0">
              <a:solidFill>
                <a:srgbClr val="0000FF"/>
              </a:solidFill>
            </a:endParaRPr>
          </a:p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Pokles se týká všech regionů. </a:t>
            </a: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875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téměř všech regionů stále setrvale klesá a rovněž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 další období lze očekávat pokles, který bude dále umocňová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upujícím očkováním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48719" y="201082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348718" y="601642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13018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354594" y="1718907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325031" y="56607"/>
            <a:ext cx="1127936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ávající vývoj epidemie je velmi pozitivní, populační zátěž významně klesá a projevuje se již postupující vakcinace rizikových skupin obyvatel </a:t>
            </a:r>
            <a:endParaRPr kumimoji="0" lang="cs-CZ" sz="32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51249" y="6145868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390522" y="2284098"/>
            <a:ext cx="11148388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sng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časný vývoj odpovídá velmi optimistickému scénáři</a:t>
            </a: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který předpokládal rychlé brždění epidemie odpovídající reprodukčnímu číslu cca 0,7 - 0,8, posílenému o rychlý efekt postupující vakcinace (imunita dosažená již po 1. dávce vakcíny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kern="0" dirty="0">
              <a:solidFill>
                <a:srgbClr val="3333CC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kern="0" dirty="0">
              <a:solidFill>
                <a:srgbClr val="3333CC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dokládají i reálná data proložená při validac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připravených modelů</a:t>
            </a:r>
          </a:p>
        </p:txBody>
      </p:sp>
      <p:sp>
        <p:nvSpPr>
          <p:cNvPr id="7" name="Šipka dolů 6"/>
          <p:cNvSpPr/>
          <p:nvPr/>
        </p:nvSpPr>
        <p:spPr>
          <a:xfrm>
            <a:off x="5354593" y="4277802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44288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1762709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n-lt"/>
              </a:rPr>
              <a:t>Modelov</a:t>
            </a:r>
            <a:r>
              <a:rPr lang="cs-CZ" dirty="0">
                <a:latin typeface="+mn-lt"/>
              </a:rPr>
              <a:t>é scénáře: </a:t>
            </a:r>
            <a:r>
              <a:rPr lang="cs-CZ" dirty="0" err="1">
                <a:latin typeface="+mn-lt"/>
              </a:rPr>
              <a:t>7denní</a:t>
            </a:r>
            <a:r>
              <a:rPr lang="cs-CZ" dirty="0">
                <a:latin typeface="+mn-lt"/>
              </a:rPr>
              <a:t> hodnoty na 100 tisíc obyvatel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7" name="TextovéPole 26"/>
          <p:cNvSpPr txBox="1"/>
          <p:nvPr>
            <p:custDataLst>
              <p:tags r:id="rId2"/>
            </p:custDataLst>
          </p:nvPr>
        </p:nvSpPr>
        <p:spPr>
          <a:xfrm>
            <a:off x="5623280" y="1755364"/>
            <a:ext cx="59541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 při zhoršení vývoje epidemi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dpovídající celo-populační hodnotě R = 1,1 by růst počtu nových případů nebyl prudký a situace by poskytla časový prostor na reakci. Stávající vývoj nicméně pokračuje dle původních optimistických scénářů pro R = cca 0,75. 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Šipka dolů 2"/>
          <p:cNvSpPr/>
          <p:nvPr/>
        </p:nvSpPr>
        <p:spPr>
          <a:xfrm>
            <a:off x="10420350" y="3075122"/>
            <a:ext cx="738002" cy="44991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0286535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/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751438" y="2046632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B0048F3D-6584-4152-8E2E-3E39D2B73D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5851776"/>
              </p:ext>
            </p:extLst>
          </p:nvPr>
        </p:nvGraphicFramePr>
        <p:xfrm>
          <a:off x="4707294" y="1410863"/>
          <a:ext cx="6646969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9983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306986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000" b="1" dirty="0">
                <a:solidFill>
                  <a:prstClr val="black"/>
                </a:solidFill>
              </a:rPr>
              <a:t>Počet nově nakažených potenciálně zranitelných pacientů setrvale klesá a snižuje tak zátěž nemocnic. Jde o efekt postupující vakcinace. </a:t>
            </a:r>
            <a:endParaRPr lang="cs-CZ" sz="3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872725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9AF1149A-F1B9-4CB9-B9E4-22E79827FFC4}"/>
              </a:ext>
            </a:extLst>
          </p:cNvPr>
          <p:cNvGraphicFramePr/>
          <p:nvPr/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757E2A2A-AB0C-4E9F-9905-4436AE58ACB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934047" y="2049193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pulace seniorů 7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0024E94B-0EB7-4A82-8868-6ADA415D32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0622761"/>
              </p:ext>
            </p:extLst>
          </p:nvPr>
        </p:nvGraphicFramePr>
        <p:xfrm>
          <a:off x="4697964" y="1374740"/>
          <a:ext cx="6581655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338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84317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7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0F2B6EF9-D569-4BAE-B545-E34BCC4C24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000" b="1" dirty="0">
                <a:solidFill>
                  <a:prstClr val="black"/>
                </a:solidFill>
              </a:rPr>
              <a:t>Počet nově nakažených potenciálně zranitelných pacientů setrvale klesá a snižuje tak zátěž nemocnic. Jde o efekt postupující vakcinace. </a:t>
            </a:r>
            <a:endParaRPr lang="cs-CZ" sz="3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816940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060410C3-4212-4CEC-8EBE-9C7726A085C7}"/>
              </a:ext>
            </a:extLst>
          </p:cNvPr>
          <p:cNvGraphicFramePr>
            <a:graphicFrameLocks noGrp="1"/>
          </p:cNvGraphicFramePr>
          <p:nvPr/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Z" sz="4000" b="1" dirty="0"/>
              <a:t>Aktuální </a:t>
            </a:r>
            <a:r>
              <a:rPr lang="cs-CZ" sz="4000" b="1" dirty="0"/>
              <a:t>počty </a:t>
            </a:r>
            <a:r>
              <a:rPr lang="en-CZ" sz="4000" b="1" dirty="0"/>
              <a:t>hospitalizovaných</a:t>
            </a:r>
            <a:r>
              <a:rPr lang="cs-CZ" sz="4000" b="1" dirty="0"/>
              <a:t> pacientů klesají</a:t>
            </a:r>
            <a:br>
              <a:rPr lang="cs-CZ" sz="4000" b="1" dirty="0"/>
            </a:br>
            <a:r>
              <a:rPr lang="cs-CZ" sz="4000" b="1" dirty="0"/>
              <a:t>a roste i dostupná kapacita lůžek, včetně JIP</a:t>
            </a:r>
            <a:endParaRPr lang="cs-CZ" sz="4000" dirty="0"/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1" y="5401498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F1254904-9434-4924-ACC6-B8A8577D9738}"/>
              </a:ext>
            </a:extLst>
          </p:cNvPr>
          <p:cNvGraphicFramePr>
            <a:graphicFrameLocks noGrp="1"/>
          </p:cNvGraphicFramePr>
          <p:nvPr/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9.06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8511984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Chart 11">
            <a:extLst>
              <a:ext uri="{FF2B5EF4-FFF2-40B4-BE49-F238E27FC236}">
                <a16:creationId xmlns:a16="http://schemas.microsoft.com/office/drawing/2014/main" id="{BBD5237A-AC5F-4DC8-A25F-195F6352F6B5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86622" y="1863980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303494" y="2051306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247494" y="2051306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216909" y="2051306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Table 1">
            <a:extLst>
              <a:ext uri="{FF2B5EF4-FFF2-40B4-BE49-F238E27FC236}">
                <a16:creationId xmlns:a16="http://schemas.microsoft.com/office/drawing/2014/main" id="{32F27886-E487-4818-BCD7-F28D2617CD43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5.–21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5.–2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5.–4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6.–11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6.–18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1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 případů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9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3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0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18" name="TextovéPole 16">
            <a:extLst>
              <a:ext uri="{FF2B5EF4-FFF2-40B4-BE49-F238E27FC236}">
                <a16:creationId xmlns:a16="http://schemas.microsoft.com/office/drawing/2014/main" id="{E45CCA2D-29A1-48F7-908C-49E4C0F50C3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854905" y="2712793"/>
            <a:ext cx="5646630" cy="1385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é modely jsou zpracovány</a:t>
            </a:r>
            <a:r>
              <a:rPr kumimoji="0" lang="cs-CZ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 více možných scénářů vývoje, včetně rizikového trendu růstu epidemie v populaci při R 1,1. I tento scénář ale ukazuje na stabilitu stávající situace danou očkováním – predikované nárůsty hospitalizací nejsou prudké. Nejrizikovějším faktorem, který by tyto predikce mohl narušit, by bylo šíření nové mutace viru – zejména forem rezistentních k vakcinaci.  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4E388AD8-9B47-4D76-ABF7-C5131CD2104D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242557" y="5300391"/>
            <a:ext cx="1900937" cy="954107"/>
            <a:chOff x="10258697" y="3526984"/>
            <a:chExt cx="1900937" cy="954107"/>
          </a:xfrm>
        </p:grpSpPr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173FEE52-8FCC-4D7C-AA4B-34F306D47CF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4442924D-1667-4092-AC22-5482806D5F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Obdélník 34">
              <a:extLst>
                <a:ext uri="{FF2B5EF4-FFF2-40B4-BE49-F238E27FC236}">
                  <a16:creationId xmlns:a16="http://schemas.microsoft.com/office/drawing/2014/main" id="{1E2D3444-8716-42CC-BAE7-FFED086E5F4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6" name="TextovéPole 28">
              <a:extLst>
                <a:ext uri="{FF2B5EF4-FFF2-40B4-BE49-F238E27FC236}">
                  <a16:creationId xmlns:a16="http://schemas.microsoft.com/office/drawing/2014/main" id="{93B189D4-D92E-483B-9421-41CF3426363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endParaRPr lang="cs-CZ" sz="1400" dirty="0"/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  <p:sp>
        <p:nvSpPr>
          <p:cNvPr id="37" name="TextBox 9">
            <a:extLst>
              <a:ext uri="{FF2B5EF4-FFF2-40B4-BE49-F238E27FC236}">
                <a16:creationId xmlns:a16="http://schemas.microsoft.com/office/drawing/2014/main" id="{14D197EC-9D60-461C-918F-F01CB9DB35F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125412" y="4746249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</a:t>
            </a:r>
            <a:r>
              <a:rPr lang="cs-CZ" sz="1200" b="1" i="1" dirty="0" smtClean="0"/>
              <a:t>nemocnicích:</a:t>
            </a:r>
            <a:endParaRPr lang="cs-CZ" sz="1200" b="1" i="1" dirty="0"/>
          </a:p>
        </p:txBody>
      </p:sp>
      <p:sp>
        <p:nvSpPr>
          <p:cNvPr id="38" name="Šipka dolů 2">
            <a:extLst>
              <a:ext uri="{FF2B5EF4-FFF2-40B4-BE49-F238E27FC236}">
                <a16:creationId xmlns:a16="http://schemas.microsoft.com/office/drawing/2014/main" id="{2F1D2D6F-50DF-46DB-9BCF-AF89180BE06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0125412" y="4207885"/>
            <a:ext cx="737954" cy="44993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5121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1901261"/>
              </p:ext>
            </p:extLst>
          </p:nvPr>
        </p:nvGraphicFramePr>
        <p:xfrm>
          <a:off x="1392508" y="139976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045700" y="1358173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2722306" y="1890379"/>
            <a:ext cx="0" cy="8025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215" y="697003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ětí. 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052105" y="2079365"/>
            <a:ext cx="245727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 4. otevřeny MŠ pro předškolní děti, návrat 1. stupně ZŠ v rotačním režimu</a:t>
            </a: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50490" y="2772910"/>
            <a:ext cx="0" cy="9077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19">
            <a:extLst>
              <a:ext uri="{FF2B5EF4-FFF2-40B4-BE49-F238E27FC236}">
                <a16:creationId xmlns:a16="http://schemas.microsoft.com/office/drawing/2014/main" id="{EC83A386-1D77-43BD-98DD-1074CDE32BD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659444" y="1219080"/>
            <a:ext cx="419520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6. 4. MŠ otevřeny zcela, SŠ a VOŠ praktické vyučování v PLK, HKK, KVK </a:t>
            </a:r>
            <a:b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. 5. dále STC, LBK, PAK, PHA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 rozšířením rotační výuky 2. st. ZŠ a od 10. 5. ve zbývajících krajích</a:t>
            </a:r>
            <a:endParaRPr kumimoji="0" lang="cs-CZ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0EA45419-FFE6-41F1-9778-325DBC06FC41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723429" y="2386547"/>
            <a:ext cx="0" cy="25581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931B54ED-96B8-4B0B-88B2-56F3421552FF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7149735" y="2402530"/>
            <a:ext cx="0" cy="23640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16BF9B4A-EA00-4154-9ADA-5E9222B2A3C2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7617974" y="2402530"/>
            <a:ext cx="0" cy="23095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959568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Chart 11">
            <a:extLst>
              <a:ext uri="{FF2B5EF4-FFF2-40B4-BE49-F238E27FC236}">
                <a16:creationId xmlns:a16="http://schemas.microsoft.com/office/drawing/2014/main" id="{C339E20A-C935-462E-82AF-6CCF7E0FD7F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57348" y="1855142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6" name="Skupina 25">
            <a:extLst>
              <a:ext uri="{FF2B5EF4-FFF2-40B4-BE49-F238E27FC236}">
                <a16:creationId xmlns:a16="http://schemas.microsoft.com/office/drawing/2014/main" id="{8C2D4D41-0A31-40B4-B634-F96D58FDA3D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242557" y="5300391"/>
            <a:ext cx="1900937" cy="954107"/>
            <a:chOff x="10258697" y="3526984"/>
            <a:chExt cx="1900937" cy="954107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030909B-B37D-4EEB-8455-E69A028473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878E8D6-CE74-4CE0-BD80-95C939A90F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986F9815-15AC-470D-A846-DC4140958B9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4" name="TextovéPole 28">
              <a:extLst>
                <a:ext uri="{FF2B5EF4-FFF2-40B4-BE49-F238E27FC236}">
                  <a16:creationId xmlns:a16="http://schemas.microsoft.com/office/drawing/2014/main" id="{1F7DF2DE-CB74-47C8-A38A-905DE08F66C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endParaRPr lang="cs-CZ" sz="1400" dirty="0"/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Table 42">
            <a:extLst>
              <a:ext uri="{FF2B5EF4-FFF2-40B4-BE49-F238E27FC236}">
                <a16:creationId xmlns:a16="http://schemas.microsoft.com/office/drawing/2014/main" id="{156C58D5-57B2-4AF5-A3A8-62D427F8832B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5.–21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5.–2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5.–4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6.–11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6.–18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8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9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5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9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125412" y="4746249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</a:t>
            </a:r>
            <a:r>
              <a:rPr lang="cs-CZ" sz="1200" b="1" i="1" dirty="0" smtClean="0"/>
              <a:t>nemocnicích:</a:t>
            </a:r>
            <a:endParaRPr lang="cs-CZ" sz="1200" b="1" i="1" dirty="0"/>
          </a:p>
        </p:txBody>
      </p:sp>
      <p:sp>
        <p:nvSpPr>
          <p:cNvPr id="18" name="TextovéPole 16">
            <a:extLst>
              <a:ext uri="{FF2B5EF4-FFF2-40B4-BE49-F238E27FC236}">
                <a16:creationId xmlns:a16="http://schemas.microsoft.com/office/drawing/2014/main" id="{BB2C6B2F-0BE6-4BBC-A993-932097AAD96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831983" y="2670662"/>
            <a:ext cx="564657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é modely jsou zpracovány</a:t>
            </a:r>
            <a:r>
              <a:rPr kumimoji="0" lang="cs-CZ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 více možných scénářů vývoje, včetně rizikového trendu růstu epidemie v populaci při R 1,1. I tento scénář ale ukazuje na stabilitu stávající situace danou očkováním – predikované nárůsty hospitalizací nejsou prudké. Nejrizikovějším faktorem, který by tyto predikce mohl narušit, by bylo šíření nové mutace viru – zejména forem rezistentních k vakcinaci.  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Šipka dolů 2">
            <a:extLst>
              <a:ext uri="{FF2B5EF4-FFF2-40B4-BE49-F238E27FC236}">
                <a16:creationId xmlns:a16="http://schemas.microsoft.com/office/drawing/2014/main" id="{55B1F1C0-FE38-49E4-B7D5-B2CA7E72B90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0125412" y="4207885"/>
            <a:ext cx="737954" cy="44993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440509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851703" y="2651451"/>
            <a:ext cx="2923309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akutní lůžka C+ pacienty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8.06.2021 00:17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/>
          </p:nvPr>
        </p:nvGraphicFramePr>
        <p:xfrm>
          <a:off x="536017" y="1108357"/>
          <a:ext cx="8430146" cy="5170522"/>
        </p:xfrm>
        <a:graphic>
          <a:graphicData uri="http://schemas.openxmlformats.org/drawingml/2006/table">
            <a:tbl>
              <a:tblPr/>
              <a:tblGrid>
                <a:gridCol w="2175986">
                  <a:extLst>
                    <a:ext uri="{9D8B030D-6E8A-4147-A177-3AD203B41FA5}">
                      <a16:colId xmlns:a16="http://schemas.microsoft.com/office/drawing/2014/main" val="1846667601"/>
                    </a:ext>
                  </a:extLst>
                </a:gridCol>
                <a:gridCol w="1239304">
                  <a:extLst>
                    <a:ext uri="{9D8B030D-6E8A-4147-A177-3AD203B41FA5}">
                      <a16:colId xmlns:a16="http://schemas.microsoft.com/office/drawing/2014/main" val="4097148486"/>
                    </a:ext>
                  </a:extLst>
                </a:gridCol>
                <a:gridCol w="1224893">
                  <a:extLst>
                    <a:ext uri="{9D8B030D-6E8A-4147-A177-3AD203B41FA5}">
                      <a16:colId xmlns:a16="http://schemas.microsoft.com/office/drawing/2014/main" val="806197181"/>
                    </a:ext>
                  </a:extLst>
                </a:gridCol>
                <a:gridCol w="1224893">
                  <a:extLst>
                    <a:ext uri="{9D8B030D-6E8A-4147-A177-3AD203B41FA5}">
                      <a16:colId xmlns:a16="http://schemas.microsoft.com/office/drawing/2014/main" val="3517787069"/>
                    </a:ext>
                  </a:extLst>
                </a:gridCol>
                <a:gridCol w="1282535">
                  <a:extLst>
                    <a:ext uri="{9D8B030D-6E8A-4147-A177-3AD203B41FA5}">
                      <a16:colId xmlns:a16="http://schemas.microsoft.com/office/drawing/2014/main" val="216287745"/>
                    </a:ext>
                  </a:extLst>
                </a:gridCol>
                <a:gridCol w="1282535">
                  <a:extLst>
                    <a:ext uri="{9D8B030D-6E8A-4147-A177-3AD203B41FA5}">
                      <a16:colId xmlns:a16="http://schemas.microsoft.com/office/drawing/2014/main" val="424944689"/>
                    </a:ext>
                  </a:extLst>
                </a:gridCol>
              </a:tblGrid>
              <a:tr h="227119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akutních lůžek (ARO + JIP) v ČR k 18.06. 2021, 11:30h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1587804"/>
                  </a:ext>
                </a:extLst>
              </a:tr>
              <a:tr h="188184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9845360"/>
                  </a:ext>
                </a:extLst>
              </a:tr>
              <a:tr h="22711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a IP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7703496"/>
                  </a:ext>
                </a:extLst>
              </a:tr>
              <a:tr h="65702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/CPAP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/CPAPpro Covid+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/NIV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/NIV pro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6013871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1628809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7470219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22365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883844"/>
                  </a:ext>
                </a:extLst>
              </a:tr>
              <a:tr h="2027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2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15053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9607017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878607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1390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7786223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718623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1649002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5300144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2171903"/>
                  </a:ext>
                </a:extLst>
              </a:tr>
              <a:tr h="21900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1723287"/>
                  </a:ext>
                </a:extLst>
              </a:tr>
              <a:tr h="2352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63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5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4315844"/>
                  </a:ext>
                </a:extLst>
              </a:tr>
              <a:tr h="275787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520818"/>
                  </a:ext>
                </a:extLst>
              </a:tr>
              <a:tr h="188184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4861975"/>
                  </a:ext>
                </a:extLst>
              </a:tr>
              <a:tr h="21900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0283317"/>
                  </a:ext>
                </a:extLst>
              </a:tr>
              <a:tr h="194674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x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97037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5098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/>
          </p:nvPr>
        </p:nvGraphicFramePr>
        <p:xfrm>
          <a:off x="762021" y="1070885"/>
          <a:ext cx="8871505" cy="5219086"/>
        </p:xfrm>
        <a:graphic>
          <a:graphicData uri="http://schemas.openxmlformats.org/drawingml/2006/table">
            <a:tbl>
              <a:tblPr/>
              <a:tblGrid>
                <a:gridCol w="2151949">
                  <a:extLst>
                    <a:ext uri="{9D8B030D-6E8A-4147-A177-3AD203B41FA5}">
                      <a16:colId xmlns:a16="http://schemas.microsoft.com/office/drawing/2014/main" val="224333617"/>
                    </a:ext>
                  </a:extLst>
                </a:gridCol>
                <a:gridCol w="1206585">
                  <a:extLst>
                    <a:ext uri="{9D8B030D-6E8A-4147-A177-3AD203B41FA5}">
                      <a16:colId xmlns:a16="http://schemas.microsoft.com/office/drawing/2014/main" val="2106729112"/>
                    </a:ext>
                  </a:extLst>
                </a:gridCol>
                <a:gridCol w="1144389">
                  <a:extLst>
                    <a:ext uri="{9D8B030D-6E8A-4147-A177-3AD203B41FA5}">
                      <a16:colId xmlns:a16="http://schemas.microsoft.com/office/drawing/2014/main" val="3566308463"/>
                    </a:ext>
                  </a:extLst>
                </a:gridCol>
                <a:gridCol w="1144389">
                  <a:extLst>
                    <a:ext uri="{9D8B030D-6E8A-4147-A177-3AD203B41FA5}">
                      <a16:colId xmlns:a16="http://schemas.microsoft.com/office/drawing/2014/main" val="4188687346"/>
                    </a:ext>
                  </a:extLst>
                </a:gridCol>
                <a:gridCol w="835901">
                  <a:extLst>
                    <a:ext uri="{9D8B030D-6E8A-4147-A177-3AD203B41FA5}">
                      <a16:colId xmlns:a16="http://schemas.microsoft.com/office/drawing/2014/main" val="488136346"/>
                    </a:ext>
                  </a:extLst>
                </a:gridCol>
                <a:gridCol w="1107073">
                  <a:extLst>
                    <a:ext uri="{9D8B030D-6E8A-4147-A177-3AD203B41FA5}">
                      <a16:colId xmlns:a16="http://schemas.microsoft.com/office/drawing/2014/main" val="3788293434"/>
                    </a:ext>
                  </a:extLst>
                </a:gridCol>
                <a:gridCol w="1281219">
                  <a:extLst>
                    <a:ext uri="{9D8B030D-6E8A-4147-A177-3AD203B41FA5}">
                      <a16:colId xmlns:a16="http://schemas.microsoft.com/office/drawing/2014/main" val="2774259809"/>
                    </a:ext>
                  </a:extLst>
                </a:gridCol>
              </a:tblGrid>
              <a:tr h="365488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8.06. 2021, 11:30 h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837403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0914677"/>
                  </a:ext>
                </a:extLst>
              </a:tr>
              <a:tr h="20100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39421"/>
                  </a:ext>
                </a:extLst>
              </a:tr>
              <a:tr h="59175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standardní s kyslíkem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6934067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0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6772447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35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1229817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08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2194973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1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9489141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38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85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0367748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7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9073275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6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86302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4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3790530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5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0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5710887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55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2196977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7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1032004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4728161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00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0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7756096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0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9162506"/>
                  </a:ext>
                </a:extLst>
              </a:tr>
              <a:tr h="2038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54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6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9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4020976"/>
                  </a:ext>
                </a:extLst>
              </a:tr>
              <a:tr h="238972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103631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9509667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3508391"/>
                  </a:ext>
                </a:extLst>
              </a:tr>
              <a:tr h="201002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x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2263323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8040418" y="2488474"/>
            <a:ext cx="318621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standard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ůžka C+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y k 18.06.2021 00:17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7443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Prováděné testy a jejich pozitivita</a:t>
            </a:r>
          </a:p>
        </p:txBody>
      </p:sp>
    </p:spTree>
    <p:extLst>
      <p:ext uri="{BB962C8B-B14F-4D97-AF65-F5344CB8AC3E}">
        <p14:creationId xmlns:p14="http://schemas.microsoft.com/office/powerpoint/2010/main" val="74709652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ulka 8">
            <a:extLst>
              <a:ext uri="{FF2B5EF4-FFF2-40B4-BE49-F238E27FC236}">
                <a16:creationId xmlns:a16="http://schemas.microsoft.com/office/drawing/2014/main" id="{7F7C1951-D37C-440D-9CB2-FD4E1160FE73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9761991"/>
              </p:ext>
            </p:extLst>
          </p:nvPr>
        </p:nvGraphicFramePr>
        <p:xfrm>
          <a:off x="197157" y="1123117"/>
          <a:ext cx="11797686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5.–15. 5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5.–22. 5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5.–29. 5. 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5.–5. 6. 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6.–12. 6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6.–19. 6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 err="1"/>
              <a:t>čty</a:t>
            </a:r>
            <a:r>
              <a:rPr lang="cs-CZ" dirty="0"/>
              <a:t> realizovaných PCR testů v čase </a:t>
            </a:r>
          </a:p>
        </p:txBody>
      </p:sp>
      <p:sp>
        <p:nvSpPr>
          <p:cNvPr id="32" name="Zahnutá šipka nahoru 25">
            <a:extLst>
              <a:ext uri="{FF2B5EF4-FFF2-40B4-BE49-F238E27FC236}">
                <a16:creationId xmlns:a16="http://schemas.microsoft.com/office/drawing/2014/main" id="{0BBE6A33-48F0-49E1-9234-59BBC97607D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03450" y="2464775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C140FC7B-E4FD-4E67-92ED-DBF34CACB88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172865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Zahnutá šipka nahoru 25">
            <a:extLst>
              <a:ext uri="{FF2B5EF4-FFF2-40B4-BE49-F238E27FC236}">
                <a16:creationId xmlns:a16="http://schemas.microsoft.com/office/drawing/2014/main" id="{595E001A-4FCA-4DDB-8C25-BFD9173BD47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16865" y="2464775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FEEB2FF7-BE27-405C-9A19-734E8CFD46B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086280" y="2464775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4F4AAAE2-F558-418C-BAA2-D0B97D25351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056914" y="2464775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3FC33A9A-498A-45CF-8A94-495429B60AF6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11689331"/>
              </p:ext>
            </p:extLst>
          </p:nvPr>
        </p:nvGraphicFramePr>
        <p:xfrm>
          <a:off x="237686" y="1922545"/>
          <a:ext cx="117378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6300">
                  <a:extLst>
                    <a:ext uri="{9D8B030D-6E8A-4147-A177-3AD203B41FA5}">
                      <a16:colId xmlns:a16="http://schemas.microsoft.com/office/drawing/2014/main" val="4102005894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565410807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2407712690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3161196635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3323522357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297233379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36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86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020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385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789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215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0546293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550252F-4855-4D99-9A2A-D70851826A2B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492903161"/>
              </p:ext>
            </p:extLst>
          </p:nvPr>
        </p:nvGraphicFramePr>
        <p:xfrm>
          <a:off x="1455988" y="2348801"/>
          <a:ext cx="9055098" cy="295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6122">
                  <a:extLst>
                    <a:ext uri="{9D8B030D-6E8A-4147-A177-3AD203B41FA5}">
                      <a16:colId xmlns:a16="http://schemas.microsoft.com/office/drawing/2014/main" val="101229450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329066832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3323232986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824092692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1970948560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657988972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3774537817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371836886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581510226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39,8%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,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8,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,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,7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942093"/>
                  </a:ext>
                </a:extLst>
              </a:tr>
            </a:tbl>
          </a:graphicData>
        </a:graphic>
      </p:graphicFrame>
      <p:graphicFrame>
        <p:nvGraphicFramePr>
          <p:cNvPr id="14" name="Chart 4">
            <a:extLst>
              <a:ext uri="{FF2B5EF4-FFF2-40B4-BE49-F238E27FC236}">
                <a16:creationId xmlns:a16="http://schemas.microsoft.com/office/drawing/2014/main" id="{4017EDDB-B32A-4BE0-898A-6E9220016009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77471063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3" name="TextovéPole 2"/>
          <p:cNvSpPr txBox="1"/>
          <p:nvPr>
            <p:custDataLst>
              <p:tags r:id="rId12"/>
            </p:custDataLst>
          </p:nvPr>
        </p:nvSpPr>
        <p:spPr>
          <a:xfrm>
            <a:off x="197157" y="691976"/>
            <a:ext cx="11778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čet PCR testů je v uplynulých týdnech přibližně stabilní, což umožňuje relevantní analýzu časových trendů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0758658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ulka 8">
            <a:extLst>
              <a:ext uri="{FF2B5EF4-FFF2-40B4-BE49-F238E27FC236}">
                <a16:creationId xmlns:a16="http://schemas.microsoft.com/office/drawing/2014/main" id="{7F7C1951-D37C-440D-9CB2-FD4E1160FE73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4147068"/>
              </p:ext>
            </p:extLst>
          </p:nvPr>
        </p:nvGraphicFramePr>
        <p:xfrm>
          <a:off x="197157" y="1123117"/>
          <a:ext cx="11797686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5.–15. 5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5.–22. 5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5.–29. 5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5.–5. 6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6.–12. 6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6.–19. 6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 err="1"/>
              <a:t>čty</a:t>
            </a:r>
            <a:r>
              <a:rPr lang="cs-CZ" dirty="0"/>
              <a:t> realizovaných </a:t>
            </a:r>
            <a:r>
              <a:rPr lang="en-US" dirty="0"/>
              <a:t>AG</a:t>
            </a:r>
            <a:r>
              <a:rPr lang="cs-CZ" dirty="0"/>
              <a:t> testů v čase</a:t>
            </a:r>
          </a:p>
        </p:txBody>
      </p:sp>
      <p:sp>
        <p:nvSpPr>
          <p:cNvPr id="32" name="Zahnutá šipka nahoru 25">
            <a:extLst>
              <a:ext uri="{FF2B5EF4-FFF2-40B4-BE49-F238E27FC236}">
                <a16:creationId xmlns:a16="http://schemas.microsoft.com/office/drawing/2014/main" id="{0BBE6A33-48F0-49E1-9234-59BBC97607D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03450" y="2464775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C140FC7B-E4FD-4E67-92ED-DBF34CACB88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172865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Zahnutá šipka nahoru 25">
            <a:extLst>
              <a:ext uri="{FF2B5EF4-FFF2-40B4-BE49-F238E27FC236}">
                <a16:creationId xmlns:a16="http://schemas.microsoft.com/office/drawing/2014/main" id="{595E001A-4FCA-4DDB-8C25-BFD9173BD47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16865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FEEB2FF7-BE27-405C-9A19-734E8CFD46B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086280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4F4AAAE2-F558-418C-BAA2-D0B97D25351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056914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3FC33A9A-498A-45CF-8A94-495429B60AF6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0712963"/>
              </p:ext>
            </p:extLst>
          </p:nvPr>
        </p:nvGraphicFramePr>
        <p:xfrm>
          <a:off x="237686" y="1922545"/>
          <a:ext cx="117378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6300">
                  <a:extLst>
                    <a:ext uri="{9D8B030D-6E8A-4147-A177-3AD203B41FA5}">
                      <a16:colId xmlns:a16="http://schemas.microsoft.com/office/drawing/2014/main" val="4102005894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565410807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2407712690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3161196635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3323522357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297233379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 217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 680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 133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 924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 735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 018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0546293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550252F-4855-4D99-9A2A-D70851826A2B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89725876"/>
              </p:ext>
            </p:extLst>
          </p:nvPr>
        </p:nvGraphicFramePr>
        <p:xfrm>
          <a:off x="1455988" y="2348801"/>
          <a:ext cx="9055098" cy="295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6122">
                  <a:extLst>
                    <a:ext uri="{9D8B030D-6E8A-4147-A177-3AD203B41FA5}">
                      <a16:colId xmlns:a16="http://schemas.microsoft.com/office/drawing/2014/main" val="101229450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329066832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3323232986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824092692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1970948560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657988972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3774537817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371836886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581510226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8,7 %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1,0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1,1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7,4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,0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942093"/>
                  </a:ext>
                </a:extLst>
              </a:tr>
            </a:tbl>
          </a:graphicData>
        </a:graphic>
      </p:graphicFrame>
      <p:graphicFrame>
        <p:nvGraphicFramePr>
          <p:cNvPr id="14" name="Chart 4">
            <a:extLst>
              <a:ext uri="{FF2B5EF4-FFF2-40B4-BE49-F238E27FC236}">
                <a16:creationId xmlns:a16="http://schemas.microsoft.com/office/drawing/2014/main" id="{4017EDDB-B32A-4BE0-898A-6E9220016009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55115873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3" name="TextovéPole 12"/>
          <p:cNvSpPr txBox="1"/>
          <p:nvPr>
            <p:custDataLst>
              <p:tags r:id="rId12"/>
            </p:custDataLst>
          </p:nvPr>
        </p:nvSpPr>
        <p:spPr>
          <a:xfrm>
            <a:off x="197157" y="691976"/>
            <a:ext cx="11778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čet AG testů je v uplynulých dvou týdnech poklesl o 14% až 17%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379202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Typologie pozitivních případů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F65D85B-1235-470B-97CB-79FE65D6B769}"/>
              </a:ext>
            </a:extLst>
          </p:cNvPr>
          <p:cNvCxnSpPr/>
          <p:nvPr/>
        </p:nvCxnSpPr>
        <p:spPr>
          <a:xfrm>
            <a:off x="6053207" y="809564"/>
            <a:ext cx="11502" cy="4708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Table 5">
            <a:extLst>
              <a:ext uri="{FF2B5EF4-FFF2-40B4-BE49-F238E27FC236}">
                <a16:creationId xmlns:a16="http://schemas.microsoft.com/office/drawing/2014/main" id="{5B5A9C21-287E-4F03-B78A-52A6DB3822A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7696102"/>
              </p:ext>
            </p:extLst>
          </p:nvPr>
        </p:nvGraphicFramePr>
        <p:xfrm>
          <a:off x="285832" y="547721"/>
          <a:ext cx="6043581" cy="5683390"/>
        </p:xfrm>
        <a:graphic>
          <a:graphicData uri="http://schemas.openxmlformats.org/drawingml/2006/table">
            <a:tbl>
              <a:tblPr/>
              <a:tblGrid>
                <a:gridCol w="74187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6932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9254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853133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06.2021</a:t>
                      </a: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63 nově pozitivních</a:t>
                      </a: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58 (92,1%)</a:t>
                      </a: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20 (31,7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38 (60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5 (7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</a:t>
                      </a:r>
                      <a:r>
                        <a:rPr lang="de-D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mptomatičtí</a:t>
                      </a:r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N = 1 (1,6%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(6,3%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41" name="Skupina 40">
            <a:extLst>
              <a:ext uri="{FF2B5EF4-FFF2-40B4-BE49-F238E27FC236}">
                <a16:creationId xmlns:a16="http://schemas.microsoft.com/office/drawing/2014/main" id="{67E718B0-D805-4F0A-A2D9-973B2454D5C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04159" y="1743959"/>
            <a:ext cx="920978" cy="3914685"/>
            <a:chOff x="404159" y="1866838"/>
            <a:chExt cx="920978" cy="3351365"/>
          </a:xfrm>
        </p:grpSpPr>
        <p:cxnSp>
          <p:nvCxnSpPr>
            <p:cNvPr id="47" name="Connector: Elbow 27">
              <a:extLst>
                <a:ext uri="{FF2B5EF4-FFF2-40B4-BE49-F238E27FC236}">
                  <a16:creationId xmlns:a16="http://schemas.microsoft.com/office/drawing/2014/main" id="{EE1BC2F1-8FA3-4CB7-A65D-01605921EF18}"/>
                </a:ext>
              </a:extLst>
            </p:cNvPr>
            <p:cNvCxnSpPr>
              <a:cxnSpLocks/>
              <a:stCxn id="57" idx="2"/>
              <a:endCxn id="60" idx="2"/>
            </p:cNvCxnSpPr>
            <p:nvPr>
              <p:custDataLst>
                <p:tags r:id="rId10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or: Elbow 28">
              <a:extLst>
                <a:ext uri="{FF2B5EF4-FFF2-40B4-BE49-F238E27FC236}">
                  <a16:creationId xmlns:a16="http://schemas.microsoft.com/office/drawing/2014/main" id="{0A91E232-C7CE-4D15-916A-0461B3434166}"/>
                </a:ext>
              </a:extLst>
            </p:cNvPr>
            <p:cNvCxnSpPr>
              <a:cxnSpLocks/>
              <a:stCxn id="76" idx="2"/>
              <a:endCxn id="58" idx="2"/>
            </p:cNvCxnSpPr>
            <p:nvPr>
              <p:custDataLst>
                <p:tags r:id="rId11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or: Elbow 29">
              <a:extLst>
                <a:ext uri="{FF2B5EF4-FFF2-40B4-BE49-F238E27FC236}">
                  <a16:creationId xmlns:a16="http://schemas.microsoft.com/office/drawing/2014/main" id="{51E69D21-290A-4C75-ABAF-6603101A1BDA}"/>
                </a:ext>
              </a:extLst>
            </p:cNvPr>
            <p:cNvCxnSpPr>
              <a:cxnSpLocks/>
              <a:stCxn id="76" idx="2"/>
              <a:endCxn id="59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30">
              <a:extLst>
                <a:ext uri="{FF2B5EF4-FFF2-40B4-BE49-F238E27FC236}">
                  <a16:creationId xmlns:a16="http://schemas.microsoft.com/office/drawing/2014/main" id="{D5A1B002-700B-428B-B6B2-7ABE2F7E2D5D}"/>
                </a:ext>
              </a:extLst>
            </p:cNvPr>
            <p:cNvCxnSpPr>
              <a:cxnSpLocks/>
              <a:stCxn id="60" idx="2"/>
              <a:endCxn id="74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or: Elbow 31">
              <a:extLst>
                <a:ext uri="{FF2B5EF4-FFF2-40B4-BE49-F238E27FC236}">
                  <a16:creationId xmlns:a16="http://schemas.microsoft.com/office/drawing/2014/main" id="{41840207-9B3F-46F3-A2A0-72EA1C5F95FC}"/>
                </a:ext>
              </a:extLst>
            </p:cNvPr>
            <p:cNvCxnSpPr>
              <a:cxnSpLocks/>
              <a:stCxn id="60" idx="2"/>
              <a:endCxn id="75" idx="2"/>
            </p:cNvCxnSpPr>
            <p:nvPr>
              <p:custDataLst>
                <p:tags r:id="rId12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7">
              <a:extLst>
                <a:ext uri="{FF2B5EF4-FFF2-40B4-BE49-F238E27FC236}">
                  <a16:creationId xmlns:a16="http://schemas.microsoft.com/office/drawing/2014/main" id="{DEFCBE29-8A8A-403F-87FC-6E964EECF435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Oval 36">
              <a:extLst>
                <a:ext uri="{FF2B5EF4-FFF2-40B4-BE49-F238E27FC236}">
                  <a16:creationId xmlns:a16="http://schemas.microsoft.com/office/drawing/2014/main" id="{EFB45541-6952-4AB8-8984-D4903D966A51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Oval 37">
              <a:extLst>
                <a:ext uri="{FF2B5EF4-FFF2-40B4-BE49-F238E27FC236}">
                  <a16:creationId xmlns:a16="http://schemas.microsoft.com/office/drawing/2014/main" id="{2143FA77-D84E-4803-A4CF-57C6A2280DBC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Oval 51">
              <a:extLst>
                <a:ext uri="{FF2B5EF4-FFF2-40B4-BE49-F238E27FC236}">
                  <a16:creationId xmlns:a16="http://schemas.microsoft.com/office/drawing/2014/main" id="{2C16C17A-1A40-4E38-8341-353E1F4A8244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Oval 52">
              <a:extLst>
                <a:ext uri="{FF2B5EF4-FFF2-40B4-BE49-F238E27FC236}">
                  <a16:creationId xmlns:a16="http://schemas.microsoft.com/office/drawing/2014/main" id="{A6EDEF7D-BF1B-4696-8813-4124510BFD1D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Oval 53">
              <a:extLst>
                <a:ext uri="{FF2B5EF4-FFF2-40B4-BE49-F238E27FC236}">
                  <a16:creationId xmlns:a16="http://schemas.microsoft.com/office/drawing/2014/main" id="{43050E38-D6EA-4630-BC45-913F50C6A86D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val 54">
              <a:extLst>
                <a:ext uri="{FF2B5EF4-FFF2-40B4-BE49-F238E27FC236}">
                  <a16:creationId xmlns:a16="http://schemas.microsoft.com/office/drawing/2014/main" id="{D8240F72-BDE6-4A9E-9A16-AC6F7259A476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77" name="Connector: Elbow 55">
              <a:extLst>
                <a:ext uri="{FF2B5EF4-FFF2-40B4-BE49-F238E27FC236}">
                  <a16:creationId xmlns:a16="http://schemas.microsoft.com/office/drawing/2014/main" id="{A8588F7C-BDAF-43FA-851B-A355AA22B9BB}"/>
                </a:ext>
              </a:extLst>
            </p:cNvPr>
            <p:cNvCxnSpPr>
              <a:cxnSpLocks/>
              <a:stCxn id="57" idx="2"/>
              <a:endCxn id="76" idx="2"/>
            </p:cNvCxnSpPr>
            <p:nvPr>
              <p:custDataLst>
                <p:tags r:id="rId14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6" name="Table 5">
            <a:extLst>
              <a:ext uri="{FF2B5EF4-FFF2-40B4-BE49-F238E27FC236}">
                <a16:creationId xmlns:a16="http://schemas.microsoft.com/office/drawing/2014/main" id="{262B1698-1AD2-45F5-A0FD-0DB8D4E9C20F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95881962"/>
              </p:ext>
            </p:extLst>
          </p:nvPr>
        </p:nvGraphicFramePr>
        <p:xfrm>
          <a:off x="6312560" y="547721"/>
          <a:ext cx="5810430" cy="5683390"/>
        </p:xfrm>
        <a:graphic>
          <a:graphicData uri="http://schemas.openxmlformats.org/drawingml/2006/table">
            <a:tbl>
              <a:tblPr/>
              <a:tblGrid>
                <a:gridCol w="71325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5893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2339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665907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.2021–13.6.2021</a:t>
                      </a: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 411 nově pozitivních</a:t>
                      </a: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1 193 (84,5%)</a:t>
                      </a: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511 (36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682 (48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218 (15,5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</a:t>
                      </a:r>
                      <a:r>
                        <a:rPr lang="de-D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mptomatičtí</a:t>
                      </a:r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N = 96 (6,8%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22 (8,6%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79" name="Skupina 78">
            <a:extLst>
              <a:ext uri="{FF2B5EF4-FFF2-40B4-BE49-F238E27FC236}">
                <a16:creationId xmlns:a16="http://schemas.microsoft.com/office/drawing/2014/main" id="{639E136A-D30A-4140-954C-C19293BC2CE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6430887" y="1743959"/>
            <a:ext cx="920978" cy="3914685"/>
            <a:chOff x="404159" y="1866838"/>
            <a:chExt cx="920978" cy="3351365"/>
          </a:xfrm>
        </p:grpSpPr>
        <p:cxnSp>
          <p:nvCxnSpPr>
            <p:cNvPr id="80" name="Connector: Elbow 27">
              <a:extLst>
                <a:ext uri="{FF2B5EF4-FFF2-40B4-BE49-F238E27FC236}">
                  <a16:creationId xmlns:a16="http://schemas.microsoft.com/office/drawing/2014/main" id="{91C1328B-5EC4-4984-AE54-D72529F04D8A}"/>
                </a:ext>
              </a:extLst>
            </p:cNvPr>
            <p:cNvCxnSpPr>
              <a:cxnSpLocks/>
              <a:stCxn id="85" idx="2"/>
              <a:endCxn id="88" idx="2"/>
            </p:cNvCxnSpPr>
            <p:nvPr>
              <p:custDataLst>
                <p:tags r:id="rId5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28">
              <a:extLst>
                <a:ext uri="{FF2B5EF4-FFF2-40B4-BE49-F238E27FC236}">
                  <a16:creationId xmlns:a16="http://schemas.microsoft.com/office/drawing/2014/main" id="{84806C24-63B6-4D79-8858-483C23BF3F1A}"/>
                </a:ext>
              </a:extLst>
            </p:cNvPr>
            <p:cNvCxnSpPr>
              <a:cxnSpLocks/>
              <a:stCxn id="91" idx="2"/>
              <a:endCxn id="86" idx="2"/>
            </p:cNvCxnSpPr>
            <p:nvPr>
              <p:custDataLst>
                <p:tags r:id="rId6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29">
              <a:extLst>
                <a:ext uri="{FF2B5EF4-FFF2-40B4-BE49-F238E27FC236}">
                  <a16:creationId xmlns:a16="http://schemas.microsoft.com/office/drawing/2014/main" id="{F1013AC1-B9AA-4FF4-8C53-5B9908B7853C}"/>
                </a:ext>
              </a:extLst>
            </p:cNvPr>
            <p:cNvCxnSpPr>
              <a:cxnSpLocks/>
              <a:stCxn id="91" idx="2"/>
              <a:endCxn id="87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nector: Elbow 30">
              <a:extLst>
                <a:ext uri="{FF2B5EF4-FFF2-40B4-BE49-F238E27FC236}">
                  <a16:creationId xmlns:a16="http://schemas.microsoft.com/office/drawing/2014/main" id="{A21B547C-F9C9-46D9-BCC0-41AD6C84AB9F}"/>
                </a:ext>
              </a:extLst>
            </p:cNvPr>
            <p:cNvCxnSpPr>
              <a:cxnSpLocks/>
              <a:stCxn id="88" idx="2"/>
              <a:endCxn id="89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nector: Elbow 31">
              <a:extLst>
                <a:ext uri="{FF2B5EF4-FFF2-40B4-BE49-F238E27FC236}">
                  <a16:creationId xmlns:a16="http://schemas.microsoft.com/office/drawing/2014/main" id="{003A88B2-3C0F-43D6-9F0B-99ED057CFFDF}"/>
                </a:ext>
              </a:extLst>
            </p:cNvPr>
            <p:cNvCxnSpPr>
              <a:cxnSpLocks/>
              <a:stCxn id="88" idx="2"/>
              <a:endCxn id="90" idx="2"/>
            </p:cNvCxnSpPr>
            <p:nvPr>
              <p:custDataLst>
                <p:tags r:id="rId7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Oval 7">
              <a:extLst>
                <a:ext uri="{FF2B5EF4-FFF2-40B4-BE49-F238E27FC236}">
                  <a16:creationId xmlns:a16="http://schemas.microsoft.com/office/drawing/2014/main" id="{BF48724A-7AD3-46E1-A401-506D6A041F29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Oval 36">
              <a:extLst>
                <a:ext uri="{FF2B5EF4-FFF2-40B4-BE49-F238E27FC236}">
                  <a16:creationId xmlns:a16="http://schemas.microsoft.com/office/drawing/2014/main" id="{32F493A2-F954-4465-B965-8FA41B790D9E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Oval 37">
              <a:extLst>
                <a:ext uri="{FF2B5EF4-FFF2-40B4-BE49-F238E27FC236}">
                  <a16:creationId xmlns:a16="http://schemas.microsoft.com/office/drawing/2014/main" id="{4C157B5A-94C3-448B-9504-14EBE360ACBE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Oval 51">
              <a:extLst>
                <a:ext uri="{FF2B5EF4-FFF2-40B4-BE49-F238E27FC236}">
                  <a16:creationId xmlns:a16="http://schemas.microsoft.com/office/drawing/2014/main" id="{0BC273FC-0A44-4F0D-B7B7-9B5BCDFD8BFF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9" name="Oval 52">
              <a:extLst>
                <a:ext uri="{FF2B5EF4-FFF2-40B4-BE49-F238E27FC236}">
                  <a16:creationId xmlns:a16="http://schemas.microsoft.com/office/drawing/2014/main" id="{9CE7D06A-3744-4936-8F28-021DA4338E97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Oval 53">
              <a:extLst>
                <a:ext uri="{FF2B5EF4-FFF2-40B4-BE49-F238E27FC236}">
                  <a16:creationId xmlns:a16="http://schemas.microsoft.com/office/drawing/2014/main" id="{25671CAA-8F0D-4062-9FC4-45371CD47E82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Oval 54">
              <a:extLst>
                <a:ext uri="{FF2B5EF4-FFF2-40B4-BE49-F238E27FC236}">
                  <a16:creationId xmlns:a16="http://schemas.microsoft.com/office/drawing/2014/main" id="{26385A48-87FF-4E74-8694-4B668BA32EDD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92" name="Connector: Elbow 55">
              <a:extLst>
                <a:ext uri="{FF2B5EF4-FFF2-40B4-BE49-F238E27FC236}">
                  <a16:creationId xmlns:a16="http://schemas.microsoft.com/office/drawing/2014/main" id="{0881EE64-CAF9-42AB-A77F-B8A602A5C626}"/>
                </a:ext>
              </a:extLst>
            </p:cNvPr>
            <p:cNvCxnSpPr>
              <a:cxnSpLocks/>
              <a:stCxn id="85" idx="2"/>
              <a:endCxn id="91" idx="2"/>
            </p:cNvCxnSpPr>
            <p:nvPr>
              <p:custDataLst>
                <p:tags r:id="rId9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4947861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</a:t>
            </a:r>
            <a:r>
              <a:rPr lang="cs-CZ" dirty="0" smtClean="0"/>
              <a:t>a klinické indikace 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/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2CB2F3B1-4209-4EFC-B953-241F066E4E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8526301"/>
              </p:ext>
            </p:extLst>
          </p:nvPr>
        </p:nvGraphicFramePr>
        <p:xfrm>
          <a:off x="1581183" y="538877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488905" y="2665996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363572734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/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F053D7C5-466F-47BB-9182-A9EDF92FDE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0592710"/>
              </p:ext>
            </p:extLst>
          </p:nvPr>
        </p:nvGraphicFramePr>
        <p:xfrm>
          <a:off x="1553191" y="548206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460913" y="2675325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348780529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nově COVID-19 pozitivních na 100 testů u dětí v čase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952239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35429248"/>
              </p:ext>
            </p:extLst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29" name="Graf 16">
            <a:extLst>
              <a:ext uri="{FF2B5EF4-FFF2-40B4-BE49-F238E27FC236}">
                <a16:creationId xmlns:a16="http://schemas.microsoft.com/office/drawing/2014/main" id="{D14DC449-1F00-4761-9C0F-0F7E7D0DDD4D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53169685"/>
              </p:ext>
            </p:extLst>
          </p:nvPr>
        </p:nvGraphicFramePr>
        <p:xfrm>
          <a:off x="4991399" y="99565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32" name="Graf 16">
            <a:extLst>
              <a:ext uri="{FF2B5EF4-FFF2-40B4-BE49-F238E27FC236}">
                <a16:creationId xmlns:a16="http://schemas.microsoft.com/office/drawing/2014/main" id="{0D0112F6-E60E-4310-AF92-E2A52E7E4780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23553470"/>
              </p:ext>
            </p:extLst>
          </p:nvPr>
        </p:nvGraphicFramePr>
        <p:xfrm>
          <a:off x="8562717" y="997797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33" name="Graf 16">
            <a:extLst>
              <a:ext uri="{FF2B5EF4-FFF2-40B4-BE49-F238E27FC236}">
                <a16:creationId xmlns:a16="http://schemas.microsoft.com/office/drawing/2014/main" id="{2BC56D18-9139-46D0-B029-751B0EA550A9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45439854"/>
              </p:ext>
            </p:extLst>
          </p:nvPr>
        </p:nvGraphicFramePr>
        <p:xfrm>
          <a:off x="1603798" y="3982194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36" name="Graf 16">
            <a:extLst>
              <a:ext uri="{FF2B5EF4-FFF2-40B4-BE49-F238E27FC236}">
                <a16:creationId xmlns:a16="http://schemas.microsoft.com/office/drawing/2014/main" id="{6DEB7949-763A-40DA-B63C-FE897037DA76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629349973"/>
              </p:ext>
            </p:extLst>
          </p:nvPr>
        </p:nvGraphicFramePr>
        <p:xfrm>
          <a:off x="4956188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37" name="Graf 16">
            <a:extLst>
              <a:ext uri="{FF2B5EF4-FFF2-40B4-BE49-F238E27FC236}">
                <a16:creationId xmlns:a16="http://schemas.microsoft.com/office/drawing/2014/main" id="{3AB67F15-6F38-430D-A4EB-52989DEB4CB6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1058940"/>
              </p:ext>
            </p:extLst>
          </p:nvPr>
        </p:nvGraphicFramePr>
        <p:xfrm>
          <a:off x="8562717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tis. dětí v dané věkové skupině za dané časové období (suma za celý časový úsek)</a:t>
            </a:r>
          </a:p>
        </p:txBody>
      </p:sp>
      <p:sp>
        <p:nvSpPr>
          <p:cNvPr id="30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rot="16200000">
            <a:off x="-128361" y="4681509"/>
            <a:ext cx="2610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esty s epidemiologickou indikací </a:t>
            </a:r>
          </a:p>
        </p:txBody>
      </p:sp>
      <p:sp>
        <p:nvSpPr>
          <p:cNvPr id="31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rot="16200000">
            <a:off x="-46432" y="1724028"/>
            <a:ext cx="2345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sty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s diagnostickou nebo klinickou indikací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3765CE34-BA7B-4D0A-BDD0-7754F6E059CC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3561431" y="5512348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767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395EB96D-4360-4A5F-BBA6-DD6970FBD8AF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191407" y="2479109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543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59BA51D-7547-4F6A-AF8C-73B62C7974C3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6463746" y="2555522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3 490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B50F700-BD9B-4F07-9F57-5ACB46BC8E81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9915576" y="2555522"/>
            <a:ext cx="84099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4 502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2A38787E-9710-4D2A-A711-372AE644843A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9940511" y="5639306"/>
            <a:ext cx="8160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4 951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4A9C1513-F4A3-42A4-BC61-9C1BE01CB4D7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6420451" y="5639306"/>
            <a:ext cx="779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2 880</a:t>
            </a:r>
          </a:p>
        </p:txBody>
      </p:sp>
    </p:spTree>
    <p:extLst>
      <p:ext uri="{BB962C8B-B14F-4D97-AF65-F5344CB8AC3E}">
        <p14:creationId xmlns:p14="http://schemas.microsoft.com/office/powerpoint/2010/main" val="42063903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261255" y="2387998"/>
            <a:ext cx="11551298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600" b="1" dirty="0" smtClean="0">
                <a:solidFill>
                  <a:srgbClr val="C00000"/>
                </a:solidFill>
                <a:latin typeface="Calibri" panose="020F0502020204030204"/>
              </a:rPr>
              <a:t>Dlouhodobě virová z</a:t>
            </a:r>
            <a:r>
              <a:rPr kumimoji="0" lang="cs-CZ" sz="2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átěž</a:t>
            </a:r>
            <a:r>
              <a:rPr kumimoji="0" lang="cs-CZ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klesá ve všech regionech,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v nízkých počtech záchytů nákazy se 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řada 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regionů již nyní dostává k jednotkám případů denně. V takové situaci nelze další prudký pokles již očekávat, naopak počty potvrzených případů začnou 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s vysokou pravděpodobností v 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nízkých hodnotách oscilovat. </a:t>
            </a:r>
            <a:endParaRPr kumimoji="0" lang="cs-CZ" sz="2600" b="1" i="0" u="none" strike="noStrike" kern="1200" cap="none" spc="0" normalizeH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600" b="1" dirty="0">
              <a:solidFill>
                <a:srgbClr val="C00000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Na 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regionální a zejména </a:t>
            </a:r>
            <a:r>
              <a:rPr kumimoji="0" lang="cs-CZ" sz="2600" b="1" i="0" u="none" strike="noStrike" kern="1200" cap="none" spc="0" normalizeH="0" noProof="0" dirty="0" err="1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subregionální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úrovni tak může dočasně i narůstat reprodukční číslo. Spíše než populační ukazatele dynamiky šíření epidemie nabývá na významu sledování potenciálně rizikových nákaz (nákaza po vakcinaci, riziko importu mutací, reinfekce, apod.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C00000"/>
              </a:solidFill>
              <a:latin typeface="Calibri" panose="020F0502020204030204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261051" y="167951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51322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cí počty denně nově potvrzených případů snižují rozdíly mezi jednotlivými regiony.</a:t>
            </a:r>
            <a:r>
              <a:rPr kumimoji="0" lang="cs-CZ" sz="4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</a:t>
            </a:r>
            <a:r>
              <a:rPr lang="cs-CZ" sz="4000" b="1" dirty="0" err="1" smtClean="0">
                <a:solidFill>
                  <a:prstClr val="black"/>
                </a:solidFill>
                <a:latin typeface="Calibri" panose="020F0502020204030204"/>
              </a:rPr>
              <a:t>očty</a:t>
            </a:r>
            <a:r>
              <a:rPr lang="cs-CZ" sz="4000" b="1" dirty="0" smtClean="0">
                <a:solidFill>
                  <a:prstClr val="black"/>
                </a:solidFill>
                <a:latin typeface="Calibri" panose="020F0502020204030204"/>
              </a:rPr>
              <a:t> nových případů klesnou v celé ČR k desítkám denně.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8540" y="618076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006651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80978" cy="576000"/>
          </a:xfrm>
        </p:spPr>
        <p:txBody>
          <a:bodyPr/>
          <a:lstStyle/>
          <a:p>
            <a:r>
              <a:rPr lang="cs-CZ" dirty="0"/>
              <a:t>Počty nově COVID-19 pozitivních na 100 testů u dospělých v čase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006526" y="3902803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>
              <a:defRPr/>
            </a:pPr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20-29 let</a:t>
            </a:r>
            <a:endParaRPr lang="cs-CZ" sz="1600" dirty="0">
              <a:solidFill>
                <a:srgbClr val="000000"/>
              </a:solidFill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0-59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60+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0-29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30-5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60+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05378540"/>
              </p:ext>
            </p:extLst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29" name="Graf 16">
            <a:extLst>
              <a:ext uri="{FF2B5EF4-FFF2-40B4-BE49-F238E27FC236}">
                <a16:creationId xmlns:a16="http://schemas.microsoft.com/office/drawing/2014/main" id="{D14DC449-1F00-4761-9C0F-0F7E7D0DDD4D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5882969"/>
              </p:ext>
            </p:extLst>
          </p:nvPr>
        </p:nvGraphicFramePr>
        <p:xfrm>
          <a:off x="4991399" y="99565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32" name="Graf 16">
            <a:extLst>
              <a:ext uri="{FF2B5EF4-FFF2-40B4-BE49-F238E27FC236}">
                <a16:creationId xmlns:a16="http://schemas.microsoft.com/office/drawing/2014/main" id="{0D0112F6-E60E-4310-AF92-E2A52E7E4780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91450064"/>
              </p:ext>
            </p:extLst>
          </p:nvPr>
        </p:nvGraphicFramePr>
        <p:xfrm>
          <a:off x="8711785" y="1086465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tis. dětí v dané věkové skupině za dané časové období (suma za celý časový úsek)</a:t>
            </a:r>
          </a:p>
        </p:txBody>
      </p:sp>
      <p:sp>
        <p:nvSpPr>
          <p:cNvPr id="30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 rot="16200000">
            <a:off x="-128361" y="4681509"/>
            <a:ext cx="2610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esty s epidemiologickou indikací </a:t>
            </a:r>
          </a:p>
        </p:txBody>
      </p:sp>
      <p:sp>
        <p:nvSpPr>
          <p:cNvPr id="31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 rot="16200000">
            <a:off x="-46432" y="1724028"/>
            <a:ext cx="2345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sty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s diagnostickou nebo klinickou indikací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3765CE34-BA7B-4D0A-BDD0-7754F6E059CC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3312291" y="5512348"/>
            <a:ext cx="94797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22 839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395EB96D-4360-4A5F-BBA6-DD6970FBD8AF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2707166" y="2548891"/>
            <a:ext cx="112607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5 513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59BA51D-7547-4F6A-AF8C-73B62C7974C3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6249323" y="2571977"/>
            <a:ext cx="87738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15 080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B50F700-BD9B-4F07-9F57-5ACB46BC8E81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10051559" y="2651161"/>
            <a:ext cx="84099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5 089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2A38787E-9710-4D2A-A711-372AE644843A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10167273" y="5697001"/>
            <a:ext cx="8160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4 565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4A9C1513-F4A3-42A4-BC61-9C1BE01CB4D7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6568887" y="5768445"/>
            <a:ext cx="779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53 631</a:t>
            </a:r>
          </a:p>
        </p:txBody>
      </p:sp>
      <p:graphicFrame>
        <p:nvGraphicFramePr>
          <p:cNvPr id="28" name="Graf 16">
            <a:extLst>
              <a:ext uri="{FF2B5EF4-FFF2-40B4-BE49-F238E27FC236}">
                <a16:creationId xmlns:a16="http://schemas.microsoft.com/office/drawing/2014/main" id="{68D82E49-D88B-467B-8377-CCF3A7A97CF5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817537031"/>
              </p:ext>
            </p:extLst>
          </p:nvPr>
        </p:nvGraphicFramePr>
        <p:xfrm>
          <a:off x="8932473" y="4185161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40" name="Graf 16">
            <a:extLst>
              <a:ext uri="{FF2B5EF4-FFF2-40B4-BE49-F238E27FC236}">
                <a16:creationId xmlns:a16="http://schemas.microsoft.com/office/drawing/2014/main" id="{286A41FC-42F2-46EE-95B8-BF86AD7C1DAC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408642710"/>
              </p:ext>
            </p:extLst>
          </p:nvPr>
        </p:nvGraphicFramePr>
        <p:xfrm>
          <a:off x="5342249" y="4185161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41" name="Graf 16">
            <a:extLst>
              <a:ext uri="{FF2B5EF4-FFF2-40B4-BE49-F238E27FC236}">
                <a16:creationId xmlns:a16="http://schemas.microsoft.com/office/drawing/2014/main" id="{04AB284B-B4EB-4D90-BFFB-25FC7CBCAEC3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0623359"/>
              </p:ext>
            </p:extLst>
          </p:nvPr>
        </p:nvGraphicFramePr>
        <p:xfrm>
          <a:off x="1587592" y="4095790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</p:spTree>
    <p:extLst>
      <p:ext uri="{BB962C8B-B14F-4D97-AF65-F5344CB8AC3E}">
        <p14:creationId xmlns:p14="http://schemas.microsoft.com/office/powerpoint/2010/main" val="227984925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8642" y="3931234"/>
            <a:ext cx="11905307" cy="1974265"/>
          </a:xfrm>
        </p:spPr>
        <p:txBody>
          <a:bodyPr>
            <a:noAutofit/>
          </a:bodyPr>
          <a:lstStyle/>
          <a:p>
            <a:r>
              <a:rPr lang="cs-CZ" sz="4800" b="1" dirty="0"/>
              <a:t>Vysoce rizikové záchyty nemoci </a:t>
            </a:r>
          </a:p>
          <a:p>
            <a:r>
              <a:rPr lang="cs-CZ" sz="4800" b="1" dirty="0"/>
              <a:t>a sledované události (ohniska)</a:t>
            </a:r>
          </a:p>
        </p:txBody>
      </p:sp>
    </p:spTree>
    <p:extLst>
      <p:ext uri="{BB962C8B-B14F-4D97-AF65-F5344CB8AC3E}">
        <p14:creationId xmlns:p14="http://schemas.microsoft.com/office/powerpoint/2010/main" val="172168512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5" y="1"/>
            <a:ext cx="11686629" cy="681036"/>
          </a:xfrm>
        </p:spPr>
        <p:txBody>
          <a:bodyPr>
            <a:normAutofit/>
          </a:bodyPr>
          <a:lstStyle/>
          <a:p>
            <a:r>
              <a:rPr lang="cs-CZ" sz="2400" dirty="0"/>
              <a:t>Nákazy po vakcinaci za poslední měsíc a za poslední týden</a:t>
            </a:r>
            <a:r>
              <a:rPr lang="en-US" sz="2400" dirty="0"/>
              <a:t> </a:t>
            </a:r>
            <a:r>
              <a:rPr lang="cs-CZ" sz="2400" dirty="0"/>
              <a:t>k 19. 6. 2021 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673544"/>
              </p:ext>
            </p:extLst>
          </p:nvPr>
        </p:nvGraphicFramePr>
        <p:xfrm>
          <a:off x="44825" y="794661"/>
          <a:ext cx="5961170" cy="591773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039598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980393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980393">
                  <a:extLst>
                    <a:ext uri="{9D8B030D-6E8A-4147-A177-3AD203B41FA5}">
                      <a16:colId xmlns:a16="http://schemas.microsoft.com/office/drawing/2014/main" val="1516909752"/>
                    </a:ext>
                  </a:extLst>
                </a:gridCol>
                <a:gridCol w="893510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  <a:gridCol w="1067276">
                  <a:extLst>
                    <a:ext uri="{9D8B030D-6E8A-4147-A177-3AD203B41FA5}">
                      <a16:colId xmlns:a16="http://schemas.microsoft.com/office/drawing/2014/main" val="2442911810"/>
                    </a:ext>
                  </a:extLst>
                </a:gridCol>
              </a:tblGrid>
              <a:tr h="619491">
                <a:tc>
                  <a:txBody>
                    <a:bodyPr/>
                    <a:lstStyle/>
                    <a:p>
                      <a:r>
                        <a:rPr lang="cs-CZ" sz="1600" dirty="0"/>
                        <a:t>Nákazy za poslední měsíc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 první dávce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 druhé dávce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63214"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>
                          <a:solidFill>
                            <a:schemeClr val="bg1"/>
                          </a:solidFill>
                        </a:rPr>
                        <a:t>Absolutní počty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>
                          <a:solidFill>
                            <a:schemeClr val="bg1"/>
                          </a:solidFill>
                        </a:rPr>
                        <a:t>Z očkovaných první dávkou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>
                          <a:solidFill>
                            <a:schemeClr val="bg1"/>
                          </a:solidFill>
                        </a:rPr>
                        <a:t>Absolutní počty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>
                          <a:solidFill>
                            <a:schemeClr val="bg1"/>
                          </a:solidFill>
                        </a:rPr>
                        <a:t>Z očkovaných druhou dávkou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308718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7%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3%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3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6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2449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7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,1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11958386"/>
              </p:ext>
            </p:extLst>
          </p:nvPr>
        </p:nvGraphicFramePr>
        <p:xfrm>
          <a:off x="6149790" y="794661"/>
          <a:ext cx="5961170" cy="591773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039598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980393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980393">
                  <a:extLst>
                    <a:ext uri="{9D8B030D-6E8A-4147-A177-3AD203B41FA5}">
                      <a16:colId xmlns:a16="http://schemas.microsoft.com/office/drawing/2014/main" val="1516909752"/>
                    </a:ext>
                  </a:extLst>
                </a:gridCol>
                <a:gridCol w="893510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  <a:gridCol w="1067276">
                  <a:extLst>
                    <a:ext uri="{9D8B030D-6E8A-4147-A177-3AD203B41FA5}">
                      <a16:colId xmlns:a16="http://schemas.microsoft.com/office/drawing/2014/main" val="2442911810"/>
                    </a:ext>
                  </a:extLst>
                </a:gridCol>
              </a:tblGrid>
              <a:tr h="619491">
                <a:tc>
                  <a:txBody>
                    <a:bodyPr/>
                    <a:lstStyle/>
                    <a:p>
                      <a:r>
                        <a:rPr lang="cs-CZ" sz="1600" dirty="0"/>
                        <a:t>Nákazy za poslední týden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 první dávce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 druhé dávce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63214"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>
                          <a:solidFill>
                            <a:schemeClr val="bg1"/>
                          </a:solidFill>
                        </a:rPr>
                        <a:t>Absolutní počty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>
                          <a:solidFill>
                            <a:schemeClr val="bg1"/>
                          </a:solidFill>
                        </a:rPr>
                        <a:t>Z očkovaných první dávkou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>
                          <a:solidFill>
                            <a:schemeClr val="bg1"/>
                          </a:solidFill>
                        </a:rPr>
                        <a:t>Absolutní počty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>
                          <a:solidFill>
                            <a:schemeClr val="bg1"/>
                          </a:solidFill>
                        </a:rPr>
                        <a:t>Z očkovaných druhou dávkou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308718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7%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6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284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2449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,06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,0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964079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389645" cy="681036"/>
          </a:xfrm>
        </p:spPr>
        <p:txBody>
          <a:bodyPr>
            <a:normAutofit/>
          </a:bodyPr>
          <a:lstStyle/>
          <a:p>
            <a:r>
              <a:rPr lang="cs-CZ" sz="2400" dirty="0"/>
              <a:t>Opakované nákazy (</a:t>
            </a:r>
            <a:r>
              <a:rPr lang="cs-CZ" sz="2400" dirty="0" smtClean="0"/>
              <a:t>reinfekce) </a:t>
            </a:r>
            <a:r>
              <a:rPr lang="cs-CZ" sz="2400" dirty="0"/>
              <a:t>za poslední měsíc</a:t>
            </a:r>
            <a:r>
              <a:rPr lang="en-US" sz="2400" dirty="0"/>
              <a:t> a t</a:t>
            </a:r>
            <a:r>
              <a:rPr lang="cs-CZ" sz="2400" dirty="0" err="1"/>
              <a:t>ýden</a:t>
            </a:r>
            <a:r>
              <a:rPr lang="cs-CZ" sz="2400" dirty="0"/>
              <a:t> k 19. 6. 2021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8788338"/>
              </p:ext>
            </p:extLst>
          </p:nvPr>
        </p:nvGraphicFramePr>
        <p:xfrm>
          <a:off x="160076" y="948526"/>
          <a:ext cx="5650668" cy="5784015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199116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1725776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1725776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</a:tblGrid>
              <a:tr h="557683">
                <a:tc>
                  <a:txBody>
                    <a:bodyPr/>
                    <a:lstStyle/>
                    <a:p>
                      <a:r>
                        <a:rPr lang="cs-CZ" sz="1600" dirty="0"/>
                        <a:t>Reinfekce za poslední měsíc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Absolutní poč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Na 100 tis. obyv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,8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56973873"/>
              </p:ext>
            </p:extLst>
          </p:nvPr>
        </p:nvGraphicFramePr>
        <p:xfrm>
          <a:off x="6172502" y="948525"/>
          <a:ext cx="5650668" cy="5784015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127436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1797456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1725776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</a:tblGrid>
              <a:tr h="557683">
                <a:tc>
                  <a:txBody>
                    <a:bodyPr/>
                    <a:lstStyle/>
                    <a:p>
                      <a:r>
                        <a:rPr lang="cs-CZ" sz="1600" dirty="0"/>
                        <a:t>Reinfekce za poslední týden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Absolutní poč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Na 100 tis. obyv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,2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611288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9946430" cy="681036"/>
          </a:xfrm>
        </p:spPr>
        <p:txBody>
          <a:bodyPr>
            <a:normAutofit/>
          </a:bodyPr>
          <a:lstStyle/>
          <a:p>
            <a:r>
              <a:rPr lang="cs-CZ" sz="2400" dirty="0"/>
              <a:t>Mutace </a:t>
            </a:r>
            <a:r>
              <a:rPr lang="cs-CZ" sz="2400" dirty="0" smtClean="0"/>
              <a:t>(hlášené podezření) za </a:t>
            </a:r>
            <a:r>
              <a:rPr lang="cs-CZ" sz="2400" dirty="0"/>
              <a:t>poslední měsíc</a:t>
            </a:r>
            <a:r>
              <a:rPr lang="en-US" sz="2400" dirty="0"/>
              <a:t> a t</a:t>
            </a:r>
            <a:r>
              <a:rPr lang="cs-CZ" sz="2400" dirty="0" err="1"/>
              <a:t>ýden</a:t>
            </a:r>
            <a:r>
              <a:rPr lang="cs-CZ" sz="2400" dirty="0"/>
              <a:t> k 19. 6. 2021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179607"/>
              </p:ext>
            </p:extLst>
          </p:nvPr>
        </p:nvGraphicFramePr>
        <p:xfrm>
          <a:off x="160076" y="948526"/>
          <a:ext cx="5650667" cy="5784015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264342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1128775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1128775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  <a:gridCol w="1128775">
                  <a:extLst>
                    <a:ext uri="{9D8B030D-6E8A-4147-A177-3AD203B41FA5}">
                      <a16:colId xmlns:a16="http://schemas.microsoft.com/office/drawing/2014/main" val="2127355624"/>
                    </a:ext>
                  </a:extLst>
                </a:gridCol>
              </a:tblGrid>
              <a:tr h="557683">
                <a:tc>
                  <a:txBody>
                    <a:bodyPr/>
                    <a:lstStyle/>
                    <a:p>
                      <a:r>
                        <a:rPr lang="cs-CZ" sz="1600" dirty="0" smtClean="0"/>
                        <a:t>Záznamy podezření</a:t>
                      </a:r>
                      <a:r>
                        <a:rPr lang="cs-CZ" sz="1600" baseline="0" dirty="0" smtClean="0"/>
                        <a:t> za </a:t>
                      </a:r>
                      <a:r>
                        <a:rPr lang="cs-CZ" sz="1600" dirty="0" smtClean="0"/>
                        <a:t>poslední </a:t>
                      </a:r>
                      <a:r>
                        <a:rPr lang="cs-CZ" sz="1600" dirty="0"/>
                        <a:t>měsíc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lpha</a:t>
                      </a:r>
                      <a:endParaRPr lang="cs-CZ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Delta</a:t>
                      </a:r>
                      <a:endParaRPr lang="cs-CZ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err="1"/>
                        <a:t>Jin</a:t>
                      </a:r>
                      <a:r>
                        <a:rPr lang="cs-CZ" sz="1600" dirty="0"/>
                        <a:t>á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3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7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77835061"/>
              </p:ext>
            </p:extLst>
          </p:nvPr>
        </p:nvGraphicFramePr>
        <p:xfrm>
          <a:off x="6172502" y="948525"/>
          <a:ext cx="5658051" cy="5784015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275212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1127613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1127613">
                  <a:extLst>
                    <a:ext uri="{9D8B030D-6E8A-4147-A177-3AD203B41FA5}">
                      <a16:colId xmlns:a16="http://schemas.microsoft.com/office/drawing/2014/main" val="432348811"/>
                    </a:ext>
                  </a:extLst>
                </a:gridCol>
                <a:gridCol w="1127613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</a:tblGrid>
              <a:tr h="557683">
                <a:tc>
                  <a:txBody>
                    <a:bodyPr/>
                    <a:lstStyle/>
                    <a:p>
                      <a:r>
                        <a:rPr lang="cs-CZ" sz="1600" dirty="0" smtClean="0"/>
                        <a:t>Záznamy podezření</a:t>
                      </a:r>
                      <a:r>
                        <a:rPr lang="cs-CZ" sz="1600" baseline="0" dirty="0" smtClean="0"/>
                        <a:t> za </a:t>
                      </a:r>
                      <a:r>
                        <a:rPr lang="cs-CZ" sz="1600" dirty="0" smtClean="0"/>
                        <a:t>poslední týden</a:t>
                      </a:r>
                      <a:endParaRPr lang="cs-CZ" sz="1600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lpha</a:t>
                      </a:r>
                      <a:endParaRPr lang="cs-CZ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Delta</a:t>
                      </a:r>
                      <a:endParaRPr lang="cs-CZ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err="1"/>
                        <a:t>Jin</a:t>
                      </a:r>
                      <a:r>
                        <a:rPr lang="cs-CZ" sz="1600" dirty="0"/>
                        <a:t>á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763032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1882" cy="681036"/>
          </a:xfrm>
        </p:spPr>
        <p:txBody>
          <a:bodyPr>
            <a:normAutofit fontScale="90000"/>
          </a:bodyPr>
          <a:lstStyle/>
          <a:p>
            <a:r>
              <a:rPr lang="cs-CZ" sz="2400" dirty="0"/>
              <a:t>Záchyty </a:t>
            </a:r>
            <a:r>
              <a:rPr lang="cs-CZ" sz="2400" dirty="0" smtClean="0"/>
              <a:t>přímo v nemocnicích bez předchozí diagnostiky za poslední měsíc</a:t>
            </a:r>
            <a:r>
              <a:rPr lang="en-US" sz="2400" dirty="0" smtClean="0"/>
              <a:t> </a:t>
            </a:r>
            <a:r>
              <a:rPr lang="en-US" sz="2400" dirty="0"/>
              <a:t>a t</a:t>
            </a:r>
            <a:r>
              <a:rPr lang="cs-CZ" sz="2400" dirty="0" err="1"/>
              <a:t>ýden</a:t>
            </a:r>
            <a:r>
              <a:rPr lang="cs-CZ" sz="2400" dirty="0"/>
              <a:t> k 19. 6. 2021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098102"/>
              </p:ext>
            </p:extLst>
          </p:nvPr>
        </p:nvGraphicFramePr>
        <p:xfrm>
          <a:off x="160075" y="805546"/>
          <a:ext cx="5650668" cy="5784015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199116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1725776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1725776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</a:tblGrid>
              <a:tr h="557683">
                <a:tc>
                  <a:txBody>
                    <a:bodyPr/>
                    <a:lstStyle/>
                    <a:p>
                      <a:r>
                        <a:rPr lang="cs-CZ" sz="1600" dirty="0" smtClean="0"/>
                        <a:t>Záznamy </a:t>
                      </a:r>
                      <a:r>
                        <a:rPr lang="cs-CZ" sz="1600" dirty="0"/>
                        <a:t>za poslední měsíc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Záchyty </a:t>
                      </a:r>
                      <a:r>
                        <a:rPr lang="cs-CZ" sz="1600" dirty="0" smtClean="0"/>
                        <a:t>přímo v nemocnici</a:t>
                      </a:r>
                      <a:endParaRPr lang="cs-CZ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Záchyty </a:t>
                      </a:r>
                      <a:r>
                        <a:rPr lang="cs-CZ" sz="1600" dirty="0" smtClean="0"/>
                        <a:t>přímo na JIP</a:t>
                      </a:r>
                      <a:endParaRPr lang="cs-CZ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00512326"/>
              </p:ext>
            </p:extLst>
          </p:nvPr>
        </p:nvGraphicFramePr>
        <p:xfrm>
          <a:off x="6155724" y="789839"/>
          <a:ext cx="5650668" cy="5784015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199116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1725776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1725776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</a:tblGrid>
              <a:tr h="557683">
                <a:tc>
                  <a:txBody>
                    <a:bodyPr/>
                    <a:lstStyle/>
                    <a:p>
                      <a:r>
                        <a:rPr lang="cs-CZ" sz="1600" dirty="0" smtClean="0"/>
                        <a:t>Záznamy  </a:t>
                      </a:r>
                      <a:r>
                        <a:rPr lang="cs-CZ" sz="1600" dirty="0"/>
                        <a:t>za poslední týden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Záchyty </a:t>
                      </a:r>
                      <a:r>
                        <a:rPr lang="cs-CZ" sz="1600" dirty="0" smtClean="0"/>
                        <a:t>přímo v nemocnici</a:t>
                      </a:r>
                      <a:endParaRPr lang="cs-CZ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Záchyty </a:t>
                      </a:r>
                      <a:r>
                        <a:rPr lang="cs-CZ" sz="1600" dirty="0" smtClean="0"/>
                        <a:t>přímo na JIP</a:t>
                      </a:r>
                      <a:endParaRPr lang="cs-CZ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34033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cs-CZ" sz="2400" dirty="0" smtClean="0"/>
              <a:t>Vysoce rizikové </a:t>
            </a:r>
            <a:r>
              <a:rPr lang="cs-CZ" sz="2400" dirty="0"/>
              <a:t>nákazy za poslední měsíc</a:t>
            </a:r>
            <a:r>
              <a:rPr lang="en-US" sz="2400" dirty="0"/>
              <a:t> a t</a:t>
            </a:r>
            <a:r>
              <a:rPr lang="cs-CZ" sz="2400" dirty="0" err="1"/>
              <a:t>ýden</a:t>
            </a:r>
            <a:r>
              <a:rPr lang="cs-CZ" sz="2400" dirty="0"/>
              <a:t> k 19. 6. 2021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012461"/>
              </p:ext>
            </p:extLst>
          </p:nvPr>
        </p:nvGraphicFramePr>
        <p:xfrm>
          <a:off x="160075" y="796825"/>
          <a:ext cx="5650668" cy="5784015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054619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1870273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1725776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</a:tblGrid>
              <a:tr h="557683">
                <a:tc>
                  <a:txBody>
                    <a:bodyPr/>
                    <a:lstStyle/>
                    <a:p>
                      <a:r>
                        <a:rPr lang="cs-CZ" sz="1600" dirty="0" smtClean="0"/>
                        <a:t>Záznamy </a:t>
                      </a:r>
                      <a:r>
                        <a:rPr lang="cs-CZ" sz="1600" dirty="0"/>
                        <a:t>za poslední měsíc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Nákaza související s import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/>
                        <a:t>Vysoce riziková </a:t>
                      </a:r>
                      <a:r>
                        <a:rPr lang="cs-CZ" sz="1600" dirty="0"/>
                        <a:t>nákaza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26846A11-710A-4C93-9687-3BD1BD8F798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03951331"/>
              </p:ext>
            </p:extLst>
          </p:nvPr>
        </p:nvGraphicFramePr>
        <p:xfrm>
          <a:off x="6206057" y="796826"/>
          <a:ext cx="5650668" cy="5784015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099044">
                  <a:extLst>
                    <a:ext uri="{9D8B030D-6E8A-4147-A177-3AD203B41FA5}">
                      <a16:colId xmlns:a16="http://schemas.microsoft.com/office/drawing/2014/main" val="3876822496"/>
                    </a:ext>
                  </a:extLst>
                </a:gridCol>
                <a:gridCol w="1825848">
                  <a:extLst>
                    <a:ext uri="{9D8B030D-6E8A-4147-A177-3AD203B41FA5}">
                      <a16:colId xmlns:a16="http://schemas.microsoft.com/office/drawing/2014/main" val="150993269"/>
                    </a:ext>
                  </a:extLst>
                </a:gridCol>
                <a:gridCol w="1725776">
                  <a:extLst>
                    <a:ext uri="{9D8B030D-6E8A-4147-A177-3AD203B41FA5}">
                      <a16:colId xmlns:a16="http://schemas.microsoft.com/office/drawing/2014/main" val="1266766408"/>
                    </a:ext>
                  </a:extLst>
                </a:gridCol>
              </a:tblGrid>
              <a:tr h="557683">
                <a:tc>
                  <a:txBody>
                    <a:bodyPr/>
                    <a:lstStyle/>
                    <a:p>
                      <a:r>
                        <a:rPr lang="cs-CZ" sz="1600" dirty="0" smtClean="0"/>
                        <a:t>Záznamy za poslední </a:t>
                      </a:r>
                      <a:r>
                        <a:rPr lang="cs-CZ" sz="1600" dirty="0"/>
                        <a:t>týden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Nákaza související s import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/>
                        <a:t>Vysoce riziková nákaza</a:t>
                      </a:r>
                      <a:r>
                        <a:rPr lang="cs-CZ" sz="1600" dirty="0"/>
                        <a:t>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598620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19185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246943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413672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27678178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651699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19817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85039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4395245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52627909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27556076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2201854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25715547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79062963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5863740"/>
                  </a:ext>
                </a:extLst>
              </a:tr>
              <a:tr h="34699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90802162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69BC60CA-A0FA-498C-8B14-BCBA0B4E139D}"/>
              </a:ext>
            </a:extLst>
          </p:cNvPr>
          <p:cNvSpPr txBox="1"/>
          <p:nvPr/>
        </p:nvSpPr>
        <p:spPr>
          <a:xfrm>
            <a:off x="281146" y="6580840"/>
            <a:ext cx="117507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*</a:t>
            </a:r>
            <a:r>
              <a:rPr lang="cs-CZ" sz="1400" dirty="0" smtClean="0"/>
              <a:t>podezření na mutaci jinou </a:t>
            </a:r>
            <a:r>
              <a:rPr lang="cs-CZ" sz="1400" dirty="0"/>
              <a:t>než </a:t>
            </a:r>
            <a:r>
              <a:rPr lang="cs-CZ" sz="1400" dirty="0" smtClean="0"/>
              <a:t>britskou </a:t>
            </a:r>
            <a:r>
              <a:rPr lang="cs-CZ" sz="1400" dirty="0"/>
              <a:t>po 2. dávce očkování a/nebo po infekci </a:t>
            </a:r>
            <a:r>
              <a:rPr lang="cs-CZ" sz="1400" dirty="0">
                <a:solidFill>
                  <a:schemeClr val="dk1"/>
                </a:solidFill>
              </a:rPr>
              <a:t>prodělané v uplynulých 180 dnech a/nebo hospitalizován</a:t>
            </a:r>
          </a:p>
        </p:txBody>
      </p:sp>
    </p:spTree>
    <p:extLst>
      <p:ext uri="{BB962C8B-B14F-4D97-AF65-F5344CB8AC3E}">
        <p14:creationId xmlns:p14="http://schemas.microsoft.com/office/powerpoint/2010/main" val="240732306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8642" y="3931234"/>
            <a:ext cx="11905307" cy="1974265"/>
          </a:xfrm>
        </p:spPr>
        <p:txBody>
          <a:bodyPr>
            <a:noAutofit/>
          </a:bodyPr>
          <a:lstStyle/>
          <a:p>
            <a:r>
              <a:rPr lang="cs-CZ" sz="4800" b="1" dirty="0"/>
              <a:t>Souhrnné přehledy </a:t>
            </a:r>
            <a:r>
              <a:rPr lang="cs-CZ" sz="4800" b="1" dirty="0" smtClean="0"/>
              <a:t>vybraných indikátorů stavu </a:t>
            </a:r>
            <a:r>
              <a:rPr lang="cs-CZ" sz="4800" b="1" dirty="0"/>
              <a:t>epidemie</a:t>
            </a:r>
          </a:p>
        </p:txBody>
      </p:sp>
    </p:spTree>
    <p:extLst>
      <p:ext uri="{BB962C8B-B14F-4D97-AF65-F5344CB8AC3E}">
        <p14:creationId xmlns:p14="http://schemas.microsoft.com/office/powerpoint/2010/main" val="88837097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dirty="0"/>
              <a:t>Rizikové charakteristiky: ČR</a:t>
            </a:r>
            <a:r>
              <a:rPr lang="en-US" dirty="0"/>
              <a:t> a region</a:t>
            </a:r>
            <a:r>
              <a:rPr lang="cs-CZ" dirty="0"/>
              <a:t>y k datu</a:t>
            </a:r>
            <a:r>
              <a:rPr lang="en-US" dirty="0"/>
              <a:t> 19.6.202</a:t>
            </a:r>
            <a:r>
              <a:rPr lang="cs-CZ" dirty="0"/>
              <a:t>1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65B1682E-812B-40B2-AB42-13F5648D51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3592" y="6060011"/>
            <a:ext cx="119613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cs-CZ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měna je v případě kvantitativních ukazatelů počítána v % hodnoty před 7 dny, u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centických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ukazatelů jde o rozdíl v daném ukazateli oproti hodnotě před 7 dny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B492EFE-4694-47AB-BF6B-EB2E0EF0AB8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154578" y="912304"/>
          <a:ext cx="11882844" cy="5106556"/>
        </p:xfrm>
        <a:graphic>
          <a:graphicData uri="http://schemas.openxmlformats.org/drawingml/2006/table">
            <a:tbl>
              <a:tblPr/>
              <a:tblGrid>
                <a:gridCol w="1852963">
                  <a:extLst>
                    <a:ext uri="{9D8B030D-6E8A-4147-A177-3AD203B41FA5}">
                      <a16:colId xmlns:a16="http://schemas.microsoft.com/office/drawing/2014/main" val="1622544546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2235393262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376163097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923022690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4110117637"/>
                    </a:ext>
                  </a:extLst>
                </a:gridCol>
                <a:gridCol w="765579">
                  <a:extLst>
                    <a:ext uri="{9D8B030D-6E8A-4147-A177-3AD203B41FA5}">
                      <a16:colId xmlns:a16="http://schemas.microsoft.com/office/drawing/2014/main" val="3310212854"/>
                    </a:ext>
                  </a:extLst>
                </a:gridCol>
                <a:gridCol w="528918">
                  <a:extLst>
                    <a:ext uri="{9D8B030D-6E8A-4147-A177-3AD203B41FA5}">
                      <a16:colId xmlns:a16="http://schemas.microsoft.com/office/drawing/2014/main" val="3842246965"/>
                    </a:ext>
                  </a:extLst>
                </a:gridCol>
                <a:gridCol w="528918">
                  <a:extLst>
                    <a:ext uri="{9D8B030D-6E8A-4147-A177-3AD203B41FA5}">
                      <a16:colId xmlns:a16="http://schemas.microsoft.com/office/drawing/2014/main" val="2089964796"/>
                    </a:ext>
                  </a:extLst>
                </a:gridCol>
                <a:gridCol w="528918">
                  <a:extLst>
                    <a:ext uri="{9D8B030D-6E8A-4147-A177-3AD203B41FA5}">
                      <a16:colId xmlns:a16="http://schemas.microsoft.com/office/drawing/2014/main" val="2628364266"/>
                    </a:ext>
                  </a:extLst>
                </a:gridCol>
                <a:gridCol w="513348">
                  <a:extLst>
                    <a:ext uri="{9D8B030D-6E8A-4147-A177-3AD203B41FA5}">
                      <a16:colId xmlns:a16="http://schemas.microsoft.com/office/drawing/2014/main" val="3998166212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2454555552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3906026980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93309078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2959362297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103835262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316103312"/>
                    </a:ext>
                  </a:extLst>
                </a:gridCol>
              </a:tblGrid>
              <a:tr h="649238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od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číslo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symptomatické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100 000 obyvatel</a:t>
                      </a:r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pl-PL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na 100 000 obyvatel</a:t>
                      </a:r>
                    </a:p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4886275"/>
                  </a:ext>
                </a:extLst>
              </a:tr>
              <a:tr h="64923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g a klin. indika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pidem</a:t>
                      </a:r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. </a:t>
                      </a:r>
                      <a:r>
                        <a:rPr lang="cs-CZ" sz="1400" b="1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ndikace</a:t>
                      </a:r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351237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6749831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4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5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836905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1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9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094448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8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3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5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582548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6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8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27200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8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72429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6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2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8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0399528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3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6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8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9824507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2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2826536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1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5097673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4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7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195325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9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0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56950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1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3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8444709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2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5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6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512090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avskoslezský kra</a:t>
                      </a: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1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2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4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92894"/>
                  </a:ext>
                </a:extLst>
              </a:tr>
              <a:tr h="2380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R</a:t>
                      </a: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6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1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7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5289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636709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40" y="2"/>
            <a:ext cx="7327160" cy="576000"/>
          </a:xfrm>
        </p:spPr>
        <p:txBody>
          <a:bodyPr/>
          <a:lstStyle/>
          <a:p>
            <a:r>
              <a:rPr lang="cs-CZ" dirty="0"/>
              <a:t>Rizikové charakteristiky: vybrané okresy </a:t>
            </a:r>
            <a:r>
              <a:rPr lang="en-US" dirty="0"/>
              <a:t>k 19.6.2021</a:t>
            </a:r>
            <a:endParaRPr lang="cs-CZ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483E80F-C5FF-424B-9A6D-30A44452A8E2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54578" y="565640"/>
          <a:ext cx="11882844" cy="1856769"/>
        </p:xfrm>
        <a:graphic>
          <a:graphicData uri="http://schemas.openxmlformats.org/drawingml/2006/table">
            <a:tbl>
              <a:tblPr/>
              <a:tblGrid>
                <a:gridCol w="1852963">
                  <a:extLst>
                    <a:ext uri="{9D8B030D-6E8A-4147-A177-3AD203B41FA5}">
                      <a16:colId xmlns:a16="http://schemas.microsoft.com/office/drawing/2014/main" val="1622544546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2235393262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376163097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923022690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4110117637"/>
                    </a:ext>
                  </a:extLst>
                </a:gridCol>
                <a:gridCol w="765579">
                  <a:extLst>
                    <a:ext uri="{9D8B030D-6E8A-4147-A177-3AD203B41FA5}">
                      <a16:colId xmlns:a16="http://schemas.microsoft.com/office/drawing/2014/main" val="3310212854"/>
                    </a:ext>
                  </a:extLst>
                </a:gridCol>
                <a:gridCol w="636165">
                  <a:extLst>
                    <a:ext uri="{9D8B030D-6E8A-4147-A177-3AD203B41FA5}">
                      <a16:colId xmlns:a16="http://schemas.microsoft.com/office/drawing/2014/main" val="3842246965"/>
                    </a:ext>
                  </a:extLst>
                </a:gridCol>
                <a:gridCol w="421671">
                  <a:extLst>
                    <a:ext uri="{9D8B030D-6E8A-4147-A177-3AD203B41FA5}">
                      <a16:colId xmlns:a16="http://schemas.microsoft.com/office/drawing/2014/main" val="2089964796"/>
                    </a:ext>
                  </a:extLst>
                </a:gridCol>
                <a:gridCol w="528918">
                  <a:extLst>
                    <a:ext uri="{9D8B030D-6E8A-4147-A177-3AD203B41FA5}">
                      <a16:colId xmlns:a16="http://schemas.microsoft.com/office/drawing/2014/main" val="2628364266"/>
                    </a:ext>
                  </a:extLst>
                </a:gridCol>
                <a:gridCol w="513348">
                  <a:extLst>
                    <a:ext uri="{9D8B030D-6E8A-4147-A177-3AD203B41FA5}">
                      <a16:colId xmlns:a16="http://schemas.microsoft.com/office/drawing/2014/main" val="3998166212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2454555552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3906026980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93309078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2959362297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103835262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316103312"/>
                    </a:ext>
                  </a:extLst>
                </a:gridCol>
              </a:tblGrid>
              <a:tr h="625999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kresy se</a:t>
                      </a:r>
                      <a:r>
                        <a:rPr lang="cs-CZ" sz="14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7denním záchytem nových případů &gt; 25/100tis. </a:t>
                      </a:r>
                      <a:r>
                        <a:rPr lang="cs-CZ" sz="1400" b="1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yv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od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číslo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symptomatické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100 000 obyvatel</a:t>
                      </a:r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pl-PL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na 100 000 obyvatel</a:t>
                      </a:r>
                    </a:p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4886275"/>
                  </a:ext>
                </a:extLst>
              </a:tr>
              <a:tr h="62599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g a klin. indika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pidem</a:t>
                      </a:r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. </a:t>
                      </a:r>
                      <a:r>
                        <a:rPr lang="cs-CZ" sz="1400" b="1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ndikace</a:t>
                      </a:r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3512374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6749831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2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9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6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83690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57484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stále</a:t>
            </a:r>
            <a:r>
              <a:rPr kumimoji="0" lang="cs-CZ" sz="20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kazuje na pokračující zpomalování epidemie</a:t>
            </a:r>
          </a:p>
        </p:txBody>
      </p:sp>
      <p:graphicFrame>
        <p:nvGraphicFramePr>
          <p:cNvPr id="10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0568247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CC0ACDB7-E02C-4ADC-B3C0-B39FD631BBF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24731103"/>
              </p:ext>
            </p:extLst>
          </p:nvPr>
        </p:nvGraphicFramePr>
        <p:xfrm>
          <a:off x="922214" y="631457"/>
          <a:ext cx="10328489" cy="2646412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5.–22. 5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5.–29. 5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5.–5. 6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6.–12. 6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6.–19. 6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5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8,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7,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,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6" name="Přímá spojnice se šipkou 15"/>
          <p:cNvCxnSpPr/>
          <p:nvPr>
            <p:custDataLst>
              <p:tags r:id="rId7"/>
            </p:custDataLst>
          </p:nvPr>
        </p:nvCxnSpPr>
        <p:spPr>
          <a:xfrm>
            <a:off x="5534160" y="5017074"/>
            <a:ext cx="5716543" cy="689848"/>
          </a:xfrm>
          <a:prstGeom prst="straightConnector1">
            <a:avLst/>
          </a:prstGeom>
          <a:ln w="19050">
            <a:solidFill>
              <a:schemeClr val="tx1">
                <a:lumMod val="95000"/>
                <a:lumOff val="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258778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40" y="2"/>
            <a:ext cx="7327160" cy="576000"/>
          </a:xfrm>
        </p:spPr>
        <p:txBody>
          <a:bodyPr/>
          <a:lstStyle/>
          <a:p>
            <a:r>
              <a:rPr lang="cs-CZ" dirty="0"/>
              <a:t>Rizikové charakteristiky: vybrané okresy </a:t>
            </a:r>
            <a:r>
              <a:rPr lang="en-US" dirty="0"/>
              <a:t>k 19.6</a:t>
            </a:r>
            <a:r>
              <a:rPr lang="cs-CZ" dirty="0"/>
              <a:t> </a:t>
            </a:r>
            <a:r>
              <a:rPr lang="en-US" dirty="0"/>
              <a:t>2021</a:t>
            </a:r>
            <a:endParaRPr lang="cs-CZ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483E80F-C5FF-424B-9A6D-30A44452A8E2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4460503"/>
              </p:ext>
            </p:extLst>
          </p:nvPr>
        </p:nvGraphicFramePr>
        <p:xfrm>
          <a:off x="154578" y="661293"/>
          <a:ext cx="11882844" cy="6071204"/>
        </p:xfrm>
        <a:graphic>
          <a:graphicData uri="http://schemas.openxmlformats.org/drawingml/2006/table">
            <a:tbl>
              <a:tblPr/>
              <a:tblGrid>
                <a:gridCol w="1852963">
                  <a:extLst>
                    <a:ext uri="{9D8B030D-6E8A-4147-A177-3AD203B41FA5}">
                      <a16:colId xmlns:a16="http://schemas.microsoft.com/office/drawing/2014/main" val="1622544546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2235393262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376163097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923022690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4110117637"/>
                    </a:ext>
                  </a:extLst>
                </a:gridCol>
                <a:gridCol w="765579">
                  <a:extLst>
                    <a:ext uri="{9D8B030D-6E8A-4147-A177-3AD203B41FA5}">
                      <a16:colId xmlns:a16="http://schemas.microsoft.com/office/drawing/2014/main" val="3310212854"/>
                    </a:ext>
                  </a:extLst>
                </a:gridCol>
                <a:gridCol w="528918">
                  <a:extLst>
                    <a:ext uri="{9D8B030D-6E8A-4147-A177-3AD203B41FA5}">
                      <a16:colId xmlns:a16="http://schemas.microsoft.com/office/drawing/2014/main" val="3842246965"/>
                    </a:ext>
                  </a:extLst>
                </a:gridCol>
                <a:gridCol w="528918">
                  <a:extLst>
                    <a:ext uri="{9D8B030D-6E8A-4147-A177-3AD203B41FA5}">
                      <a16:colId xmlns:a16="http://schemas.microsoft.com/office/drawing/2014/main" val="2089964796"/>
                    </a:ext>
                  </a:extLst>
                </a:gridCol>
                <a:gridCol w="528918">
                  <a:extLst>
                    <a:ext uri="{9D8B030D-6E8A-4147-A177-3AD203B41FA5}">
                      <a16:colId xmlns:a16="http://schemas.microsoft.com/office/drawing/2014/main" val="2628364266"/>
                    </a:ext>
                  </a:extLst>
                </a:gridCol>
                <a:gridCol w="513348">
                  <a:extLst>
                    <a:ext uri="{9D8B030D-6E8A-4147-A177-3AD203B41FA5}">
                      <a16:colId xmlns:a16="http://schemas.microsoft.com/office/drawing/2014/main" val="3998166212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2454555552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3906026980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93309078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2959362297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103835262"/>
                    </a:ext>
                  </a:extLst>
                </a:gridCol>
                <a:gridCol w="716420">
                  <a:extLst>
                    <a:ext uri="{9D8B030D-6E8A-4147-A177-3AD203B41FA5}">
                      <a16:colId xmlns:a16="http://schemas.microsoft.com/office/drawing/2014/main" val="316103312"/>
                    </a:ext>
                  </a:extLst>
                </a:gridCol>
              </a:tblGrid>
              <a:tr h="625999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kresy se</a:t>
                      </a:r>
                      <a:r>
                        <a:rPr lang="cs-CZ" sz="14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7denním záchytem nových případů </a:t>
                      </a:r>
                      <a:r>
                        <a:rPr lang="en-US" sz="14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.5-25</a:t>
                      </a:r>
                      <a:r>
                        <a:rPr lang="cs-CZ" sz="14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/100tis. </a:t>
                      </a:r>
                      <a:r>
                        <a:rPr lang="cs-CZ" sz="1400" b="1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yv</a:t>
                      </a:r>
                      <a:r>
                        <a:rPr lang="en-US" sz="14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od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číslo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a 7 d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symptomatické za uplynulých </a:t>
                      </a:r>
                    </a:p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ní na 100 000 oby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100 000 obyvatel</a:t>
                      </a:r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pl-PL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na 100 000 obyvatel</a:t>
                      </a:r>
                    </a:p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4886275"/>
                  </a:ext>
                </a:extLst>
              </a:tr>
              <a:tr h="62599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g a klin. indika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pidem</a:t>
                      </a:r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. </a:t>
                      </a:r>
                      <a:r>
                        <a:rPr lang="cs-CZ" sz="1400" b="1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ndikace</a:t>
                      </a:r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cs-CZ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3512374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71" marR="5771" marT="577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no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</a:t>
                      </a:r>
                      <a:r>
                        <a:rPr lang="cs-CZ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ěna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6749831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atov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5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9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6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8369056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íbra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0944485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ymbur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7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5825488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4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7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2720095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1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2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724295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ďár nad Sázavou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0399528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4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5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9824507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vlíčkův Br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2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2826536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lní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5097673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3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3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195325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av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3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6569504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umper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8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3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8444709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512090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92894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528921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855562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2944981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1309492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4430882"/>
                  </a:ext>
                </a:extLst>
              </a:tr>
              <a:tr h="229486">
                <a:tc>
                  <a:txBody>
                    <a:bodyPr/>
                    <a:lstStyle/>
                    <a:p>
                      <a:pPr algn="l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cs-CZ" sz="1100" b="0" i="1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32417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459438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40" y="2"/>
            <a:ext cx="6857260" cy="576000"/>
          </a:xfrm>
        </p:spPr>
        <p:txBody>
          <a:bodyPr/>
          <a:lstStyle/>
          <a:p>
            <a:r>
              <a:rPr lang="cs-CZ" dirty="0"/>
              <a:t>Pozice krajů a </a:t>
            </a:r>
            <a:r>
              <a:rPr lang="cs-CZ" dirty="0" smtClean="0"/>
              <a:t>okresů: 7denního počet </a:t>
            </a:r>
            <a:r>
              <a:rPr lang="cs-CZ" dirty="0"/>
              <a:t>nových případů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25160FD-21AA-434A-B0A4-4A4995D7FD8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1249816"/>
              </p:ext>
            </p:extLst>
          </p:nvPr>
        </p:nvGraphicFramePr>
        <p:xfrm>
          <a:off x="228379" y="1195420"/>
          <a:ext cx="5867621" cy="48979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80F5BBB-390C-408E-93CD-20F190BA04DC}"/>
              </a:ext>
            </a:extLst>
          </p:cNvPr>
          <p:cNvSpPr/>
          <p:nvPr/>
        </p:nvSpPr>
        <p:spPr>
          <a:xfrm>
            <a:off x="1755366" y="6099667"/>
            <a:ext cx="249780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měna v % za uplynulých 7 dní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048976-894D-4B0C-A5B5-DCADD77133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-2054425" y="3668520"/>
            <a:ext cx="439773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é případy za uplynulých 7 dní na 100 000 obyvat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253D15B-E61A-43C3-B7EE-28A64F2153D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3743" y="836466"/>
            <a:ext cx="761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e</a:t>
            </a:r>
          </a:p>
        </p:txBody>
      </p:sp>
      <p:cxnSp>
        <p:nvCxnSpPr>
          <p:cNvPr id="5" name="Přímá spojnice 4"/>
          <p:cNvCxnSpPr/>
          <p:nvPr/>
        </p:nvCxnSpPr>
        <p:spPr>
          <a:xfrm>
            <a:off x="6096000" y="576002"/>
            <a:ext cx="0" cy="62819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595FF26D-1A14-4486-BE60-9D2F171F55D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65701765"/>
              </p:ext>
            </p:extLst>
          </p:nvPr>
        </p:nvGraphicFramePr>
        <p:xfrm>
          <a:off x="6318437" y="1234880"/>
          <a:ext cx="5867621" cy="48979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EC01D443-6786-43C5-8594-9E34D8FC7CC5}"/>
              </a:ext>
            </a:extLst>
          </p:cNvPr>
          <p:cNvSpPr/>
          <p:nvPr/>
        </p:nvSpPr>
        <p:spPr>
          <a:xfrm>
            <a:off x="7845424" y="6139127"/>
            <a:ext cx="249780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měna v % za uplynulých 7 dní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3685C91-C6D8-4A18-9879-A73CAB9FECA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6200000">
            <a:off x="4035633" y="3707980"/>
            <a:ext cx="439773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é případy za uplynulých 7 dní na 100 000 obyvatel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B4ACD82-9732-47F8-9392-D2F7F8A8D6C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643801" y="875926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kresy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771889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C1C03C6-5FDE-4C2D-A430-3E4DDAFC46D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863751" y="3112547"/>
            <a:ext cx="5320028" cy="316454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94389" y="2"/>
            <a:ext cx="7574771" cy="576000"/>
          </a:xfrm>
        </p:spPr>
        <p:txBody>
          <a:bodyPr/>
          <a:lstStyle/>
          <a:p>
            <a:r>
              <a:rPr lang="cs-CZ" dirty="0" smtClean="0"/>
              <a:t>Kraje: </a:t>
            </a:r>
            <a:r>
              <a:rPr lang="en-US" dirty="0"/>
              <a:t>diagnostic</a:t>
            </a:r>
            <a:r>
              <a:rPr lang="cs-CZ" dirty="0" err="1"/>
              <a:t>ké</a:t>
            </a:r>
            <a:r>
              <a:rPr lang="cs-CZ" dirty="0"/>
              <a:t> a klinické testy</a:t>
            </a:r>
            <a:r>
              <a:rPr lang="en-US" dirty="0"/>
              <a:t> k </a:t>
            </a:r>
            <a:r>
              <a:rPr lang="cs-CZ" dirty="0"/>
              <a:t>1</a:t>
            </a:r>
            <a:r>
              <a:rPr lang="en-US" dirty="0"/>
              <a:t>9</a:t>
            </a:r>
            <a:r>
              <a:rPr lang="cs-CZ" dirty="0"/>
              <a:t>.6</a:t>
            </a:r>
          </a:p>
        </p:txBody>
      </p: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CD3B883E-5036-4168-A305-2866EDEEE82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22436227"/>
              </p:ext>
            </p:extLst>
          </p:nvPr>
        </p:nvGraphicFramePr>
        <p:xfrm>
          <a:off x="479390" y="1141399"/>
          <a:ext cx="5867621" cy="48979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F906BAE7-F9D0-4CEA-9908-ED22E8C7C39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23544" y="6153165"/>
            <a:ext cx="39661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testů za uplynulých 7 dní na 100 000 obyvatel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BC6A1D4-0482-4B32-B244-373598BA32E0}"/>
              </a:ext>
            </a:extLst>
          </p:cNvPr>
          <p:cNvSpPr/>
          <p:nvPr/>
        </p:nvSpPr>
        <p:spPr>
          <a:xfrm rot="16200000">
            <a:off x="-1908179" y="3451865"/>
            <a:ext cx="439773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é případy za uplynulých 7 dní na 100 000 obyvatel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F4E6404-7EEC-44C8-9B22-DF043C0360CE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 flipV="1">
            <a:off x="729209" y="1248134"/>
            <a:ext cx="44449" cy="448507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A3B58C8-C5EB-4932-8C06-C40906698803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 flipV="1">
            <a:off x="724928" y="1243054"/>
            <a:ext cx="236532" cy="448507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98EA77F-79A1-41F3-96D0-A4B310213073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 flipV="1">
            <a:off x="751433" y="1243056"/>
            <a:ext cx="397830" cy="454617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352E8A76-1881-49DA-9E43-6CB76E0C346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91957" y="627454"/>
            <a:ext cx="12207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zitivních záchytů 30%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9260F5C-601E-4647-9FBB-F029FB7B807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49263" y="1318405"/>
            <a:ext cx="13106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zitivních záchytů 10%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B734407-F4C1-4688-AE15-7A86AE031E2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949266" y="981662"/>
            <a:ext cx="11169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zitivních záchytů 20%</a:t>
            </a:r>
          </a:p>
        </p:txBody>
      </p:sp>
      <p:sp>
        <p:nvSpPr>
          <p:cNvPr id="12" name="Rectangle 25">
            <a:extLst>
              <a:ext uri="{FF2B5EF4-FFF2-40B4-BE49-F238E27FC236}">
                <a16:creationId xmlns:a16="http://schemas.microsoft.com/office/drawing/2014/main" id="{33536DC9-B321-4E7F-8F22-94AEC365569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6494115" y="840295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71ADA7B-BEEF-43BC-AB33-42B2C51C9BA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662851" y="776406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383DCFA-0FD5-451B-94DB-E8433E8F94A6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7726016" y="834152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DD8043D-5EA6-4117-B4B9-2190BD797C79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7857573" y="770263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.5.2021</a:t>
            </a:r>
          </a:p>
        </p:txBody>
      </p:sp>
      <p:sp>
        <p:nvSpPr>
          <p:cNvPr id="16" name="Rectangle 31">
            <a:extLst>
              <a:ext uri="{FF2B5EF4-FFF2-40B4-BE49-F238E27FC236}">
                <a16:creationId xmlns:a16="http://schemas.microsoft.com/office/drawing/2014/main" id="{4641C92A-884E-4CA7-B2EE-243660E767E8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881777" y="827624"/>
            <a:ext cx="180000" cy="1800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32">
            <a:extLst>
              <a:ext uri="{FF2B5EF4-FFF2-40B4-BE49-F238E27FC236}">
                <a16:creationId xmlns:a16="http://schemas.microsoft.com/office/drawing/2014/main" id="{E088167D-7ADC-4F30-BC99-900414A7C487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9032384" y="76373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1.5.2021</a:t>
            </a:r>
          </a:p>
        </p:txBody>
      </p:sp>
      <p:graphicFrame>
        <p:nvGraphicFramePr>
          <p:cNvPr id="18" name="Chart 34">
            <a:extLst>
              <a:ext uri="{FF2B5EF4-FFF2-40B4-BE49-F238E27FC236}">
                <a16:creationId xmlns:a16="http://schemas.microsoft.com/office/drawing/2014/main" id="{FC5BAE9E-B217-4F47-9DFF-0FC31D260785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44344629"/>
              </p:ext>
            </p:extLst>
          </p:nvPr>
        </p:nvGraphicFramePr>
        <p:xfrm>
          <a:off x="6863751" y="1475095"/>
          <a:ext cx="4981987" cy="53260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1CAF6B22-4515-4FA6-A31F-C39FC22395AC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7921791" y="1203202"/>
            <a:ext cx="39661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testů za uplynulých 7 dní na 100 000 obyvatel</a:t>
            </a:r>
          </a:p>
        </p:txBody>
      </p:sp>
      <p:sp>
        <p:nvSpPr>
          <p:cNvPr id="21" name="Rectangle 31">
            <a:extLst>
              <a:ext uri="{FF2B5EF4-FFF2-40B4-BE49-F238E27FC236}">
                <a16:creationId xmlns:a16="http://schemas.microsoft.com/office/drawing/2014/main" id="{A2DF89E5-222C-4CE8-9002-9FEFA746960C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0170273" y="827624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32">
            <a:extLst>
              <a:ext uri="{FF2B5EF4-FFF2-40B4-BE49-F238E27FC236}">
                <a16:creationId xmlns:a16="http://schemas.microsoft.com/office/drawing/2014/main" id="{29D45986-2102-4048-A299-2B31CE47DA7B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320880" y="76373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.6.2021</a:t>
            </a:r>
          </a:p>
        </p:txBody>
      </p:sp>
    </p:spTree>
    <p:extLst>
      <p:ext uri="{BB962C8B-B14F-4D97-AF65-F5344CB8AC3E}">
        <p14:creationId xmlns:p14="http://schemas.microsoft.com/office/powerpoint/2010/main" val="105487932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94389" y="2"/>
            <a:ext cx="7574771" cy="576000"/>
          </a:xfrm>
        </p:spPr>
        <p:txBody>
          <a:bodyPr/>
          <a:lstStyle/>
          <a:p>
            <a:r>
              <a:rPr lang="cs-CZ" dirty="0" smtClean="0"/>
              <a:t>Kraje: </a:t>
            </a:r>
            <a:r>
              <a:rPr lang="cs-CZ" dirty="0"/>
              <a:t>epidemiologické testy k 1</a:t>
            </a:r>
            <a:r>
              <a:rPr lang="en-US" dirty="0"/>
              <a:t>9</a:t>
            </a:r>
            <a:r>
              <a:rPr lang="cs-CZ" dirty="0"/>
              <a:t>.6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7EC6E5F-EE8D-42E5-9BB9-4747DAB48B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863751" y="3423679"/>
            <a:ext cx="5320028" cy="35701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48CF033-012C-4579-84F9-549460865FF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662851" y="776406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7228DC7-6CCA-4AEB-9702-DA89E8DF52F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726016" y="834152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2724E90-C25F-4916-8200-6A003BFB9A6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857573" y="770263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.5.2021</a:t>
            </a:r>
          </a:p>
        </p:txBody>
      </p:sp>
      <p:sp>
        <p:nvSpPr>
          <p:cNvPr id="18" name="Rectangle 31">
            <a:extLst>
              <a:ext uri="{FF2B5EF4-FFF2-40B4-BE49-F238E27FC236}">
                <a16:creationId xmlns:a16="http://schemas.microsoft.com/office/drawing/2014/main" id="{45578895-1FC4-40AD-9FBE-1644C9C77F0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881777" y="827624"/>
            <a:ext cx="180000" cy="1800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32">
            <a:extLst>
              <a:ext uri="{FF2B5EF4-FFF2-40B4-BE49-F238E27FC236}">
                <a16:creationId xmlns:a16="http://schemas.microsoft.com/office/drawing/2014/main" id="{AA721A8F-56DC-438E-AA5B-77EAE0AD68A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032384" y="76373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1.5.2021</a:t>
            </a:r>
          </a:p>
        </p:txBody>
      </p:sp>
      <p:graphicFrame>
        <p:nvGraphicFramePr>
          <p:cNvPr id="20" name="Chart 34">
            <a:extLst>
              <a:ext uri="{FF2B5EF4-FFF2-40B4-BE49-F238E27FC236}">
                <a16:creationId xmlns:a16="http://schemas.microsoft.com/office/drawing/2014/main" id="{195731FE-D6B6-46DC-8C57-C1BD90AF7B68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83230884"/>
              </p:ext>
            </p:extLst>
          </p:nvPr>
        </p:nvGraphicFramePr>
        <p:xfrm>
          <a:off x="6863751" y="1475095"/>
          <a:ext cx="4981987" cy="53260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89746C49-01FA-4CB3-9EEE-9013A83E833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921791" y="1203202"/>
            <a:ext cx="39661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testů za uplynulých 7 dní na 100 000 obyvatel</a:t>
            </a:r>
          </a:p>
        </p:txBody>
      </p:sp>
      <p:sp>
        <p:nvSpPr>
          <p:cNvPr id="22" name="Rectangle 31">
            <a:extLst>
              <a:ext uri="{FF2B5EF4-FFF2-40B4-BE49-F238E27FC236}">
                <a16:creationId xmlns:a16="http://schemas.microsoft.com/office/drawing/2014/main" id="{FD5598B5-B55D-4E3F-90E9-4A17D9B71FE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0170273" y="827624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32">
            <a:extLst>
              <a:ext uri="{FF2B5EF4-FFF2-40B4-BE49-F238E27FC236}">
                <a16:creationId xmlns:a16="http://schemas.microsoft.com/office/drawing/2014/main" id="{DB51FA4F-CC66-4178-87EE-C5E2BE466E1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320880" y="76373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.6.2021</a:t>
            </a: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A2265A3E-E3AB-46D3-9073-011FD276E507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11504121"/>
              </p:ext>
            </p:extLst>
          </p:nvPr>
        </p:nvGraphicFramePr>
        <p:xfrm>
          <a:off x="479390" y="1141399"/>
          <a:ext cx="5867621" cy="48979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108D452B-129E-4F71-B176-42D5DDA3CD56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623544" y="6153165"/>
            <a:ext cx="39661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testů za uplynulých 7 dní na 100 000 obyvatel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14AF984-D9EF-4CC7-BA3E-9B56B40C36D0}"/>
              </a:ext>
            </a:extLst>
          </p:cNvPr>
          <p:cNvSpPr/>
          <p:nvPr/>
        </p:nvSpPr>
        <p:spPr>
          <a:xfrm rot="16200000">
            <a:off x="-1908179" y="3451865"/>
            <a:ext cx="439773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é případy za uplynulých 7 dní na 100 000 obyvatel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348AAB6-2519-4237-A72D-57641B1BA38D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>
          <a:xfrm flipV="1">
            <a:off x="825921" y="1248134"/>
            <a:ext cx="44449" cy="448507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249007C-51B5-488E-981A-653DEEAA927B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>
          <a:xfrm flipV="1">
            <a:off x="821640" y="1243054"/>
            <a:ext cx="236532" cy="448507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F8C0605-5919-44A1-9EC9-DE075A56BF0F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>
          <a:xfrm flipV="1">
            <a:off x="848145" y="1243056"/>
            <a:ext cx="397830" cy="454617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B3EE141A-FB80-4275-B30A-A9D34E085F03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91957" y="627454"/>
            <a:ext cx="12207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zitivních záchytů 30%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0887893-F4F4-48B3-84CA-0DC40038331E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1193785" y="1456399"/>
            <a:ext cx="13106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zitivních záchytů 10%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0471A86-E4C3-49FA-A3F7-DC3BFFD6123A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012581" y="1007624"/>
            <a:ext cx="11169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zitivních záchytů 20%</a:t>
            </a:r>
          </a:p>
        </p:txBody>
      </p:sp>
    </p:spTree>
    <p:extLst>
      <p:ext uri="{BB962C8B-B14F-4D97-AF65-F5344CB8AC3E}">
        <p14:creationId xmlns:p14="http://schemas.microsoft.com/office/powerpoint/2010/main" val="156864427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94389" y="2"/>
            <a:ext cx="7574771" cy="576000"/>
          </a:xfrm>
        </p:spPr>
        <p:txBody>
          <a:bodyPr/>
          <a:lstStyle/>
          <a:p>
            <a:r>
              <a:rPr lang="cs-CZ" dirty="0" smtClean="0"/>
              <a:t>Kraje: veškeré indikované testy </a:t>
            </a:r>
            <a:r>
              <a:rPr lang="cs-CZ" dirty="0"/>
              <a:t>k 1</a:t>
            </a:r>
            <a:r>
              <a:rPr lang="en-US" dirty="0"/>
              <a:t>9</a:t>
            </a:r>
            <a:r>
              <a:rPr lang="cs-CZ" dirty="0"/>
              <a:t>.6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7EC6E5F-EE8D-42E5-9BB9-4747DAB48B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863751" y="3107153"/>
            <a:ext cx="5320028" cy="321847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48CF033-012C-4579-84F9-549460865FF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662851" y="776406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7228DC7-6CCA-4AEB-9702-DA89E8DF52F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726016" y="834152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2724E90-C25F-4916-8200-6A003BFB9A6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857573" y="770263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.5.2021</a:t>
            </a:r>
          </a:p>
        </p:txBody>
      </p:sp>
      <p:sp>
        <p:nvSpPr>
          <p:cNvPr id="18" name="Rectangle 31">
            <a:extLst>
              <a:ext uri="{FF2B5EF4-FFF2-40B4-BE49-F238E27FC236}">
                <a16:creationId xmlns:a16="http://schemas.microsoft.com/office/drawing/2014/main" id="{45578895-1FC4-40AD-9FBE-1644C9C77F0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881777" y="827624"/>
            <a:ext cx="180000" cy="1800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32">
            <a:extLst>
              <a:ext uri="{FF2B5EF4-FFF2-40B4-BE49-F238E27FC236}">
                <a16:creationId xmlns:a16="http://schemas.microsoft.com/office/drawing/2014/main" id="{AA721A8F-56DC-438E-AA5B-77EAE0AD68A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032384" y="76373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1.5.2021</a:t>
            </a:r>
          </a:p>
        </p:txBody>
      </p:sp>
      <p:graphicFrame>
        <p:nvGraphicFramePr>
          <p:cNvPr id="20" name="Chart 34">
            <a:extLst>
              <a:ext uri="{FF2B5EF4-FFF2-40B4-BE49-F238E27FC236}">
                <a16:creationId xmlns:a16="http://schemas.microsoft.com/office/drawing/2014/main" id="{195731FE-D6B6-46DC-8C57-C1BD90AF7B68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62179714"/>
              </p:ext>
            </p:extLst>
          </p:nvPr>
        </p:nvGraphicFramePr>
        <p:xfrm>
          <a:off x="6863751" y="1475095"/>
          <a:ext cx="4981987" cy="53260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89746C49-01FA-4CB3-9EEE-9013A83E833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921791" y="1203202"/>
            <a:ext cx="39661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testů za uplynulých 7 dní na 100 000 obyvatel</a:t>
            </a:r>
          </a:p>
        </p:txBody>
      </p:sp>
      <p:sp>
        <p:nvSpPr>
          <p:cNvPr id="22" name="Rectangle 31">
            <a:extLst>
              <a:ext uri="{FF2B5EF4-FFF2-40B4-BE49-F238E27FC236}">
                <a16:creationId xmlns:a16="http://schemas.microsoft.com/office/drawing/2014/main" id="{FD5598B5-B55D-4E3F-90E9-4A17D9B71FE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0170273" y="827624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32">
            <a:extLst>
              <a:ext uri="{FF2B5EF4-FFF2-40B4-BE49-F238E27FC236}">
                <a16:creationId xmlns:a16="http://schemas.microsoft.com/office/drawing/2014/main" id="{DB51FA4F-CC66-4178-87EE-C5E2BE466E1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320880" y="763735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19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6.2021</a:t>
            </a: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CD548F61-00CC-49AA-B7EC-A286D667C92A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88363639"/>
              </p:ext>
            </p:extLst>
          </p:nvPr>
        </p:nvGraphicFramePr>
        <p:xfrm>
          <a:off x="479390" y="1141399"/>
          <a:ext cx="5867621" cy="48979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203BE48F-0669-4452-9DF7-C4F871849B2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623544" y="6153165"/>
            <a:ext cx="39661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testů za uplynulých 7 dní na 100 000 obyvatel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9DDAC12-3D66-402B-A98B-B4C736565D62}"/>
              </a:ext>
            </a:extLst>
          </p:cNvPr>
          <p:cNvSpPr/>
          <p:nvPr/>
        </p:nvSpPr>
        <p:spPr>
          <a:xfrm rot="16200000">
            <a:off x="-1908179" y="3451865"/>
            <a:ext cx="439773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é případy za uplynulých 7 dní na 100 000 obyvatel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C7821C0-EF2D-42F5-860B-2FC926E258CB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>
          <a:xfrm flipV="1">
            <a:off x="825921" y="1248134"/>
            <a:ext cx="44449" cy="448507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671D6B0-ACF3-407E-8207-2353D2E94499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>
          <a:xfrm flipV="1">
            <a:off x="821640" y="1243054"/>
            <a:ext cx="236532" cy="448507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329A40FB-B21B-4A7E-ABF2-C858DB3D4955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>
          <a:xfrm flipV="1">
            <a:off x="848145" y="1243056"/>
            <a:ext cx="397830" cy="454617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1FC5BBEC-171B-45CA-A947-F68D16C20647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91957" y="627454"/>
            <a:ext cx="12207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zitivních záchytů 30%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DA8AAC5-67C0-44E5-90BD-AC052538A268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1239125" y="1582062"/>
            <a:ext cx="13106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zitivních záchytů 10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DBCE538-97A3-4F1F-9740-8E430FE83061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047060" y="1181952"/>
            <a:ext cx="11169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zitivních záchytů 20%</a:t>
            </a:r>
          </a:p>
        </p:txBody>
      </p:sp>
    </p:spTree>
    <p:extLst>
      <p:ext uri="{BB962C8B-B14F-4D97-AF65-F5344CB8AC3E}">
        <p14:creationId xmlns:p14="http://schemas.microsoft.com/office/powerpoint/2010/main" val="294719479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94389" y="2"/>
            <a:ext cx="7574771" cy="576000"/>
          </a:xfrm>
        </p:spPr>
        <p:txBody>
          <a:bodyPr/>
          <a:lstStyle/>
          <a:p>
            <a:r>
              <a:rPr lang="cs-CZ" dirty="0" smtClean="0"/>
              <a:t>Okresy: </a:t>
            </a:r>
            <a:r>
              <a:rPr lang="en-US" dirty="0"/>
              <a:t>diagnostic</a:t>
            </a:r>
            <a:r>
              <a:rPr lang="cs-CZ" dirty="0" err="1"/>
              <a:t>ké</a:t>
            </a:r>
            <a:r>
              <a:rPr lang="cs-CZ" dirty="0"/>
              <a:t> a klinické testy</a:t>
            </a:r>
            <a:r>
              <a:rPr lang="en-US" dirty="0"/>
              <a:t> k </a:t>
            </a:r>
            <a:r>
              <a:rPr lang="cs-CZ" dirty="0"/>
              <a:t>1</a:t>
            </a:r>
            <a:r>
              <a:rPr lang="en-US" dirty="0"/>
              <a:t>9</a:t>
            </a:r>
            <a:r>
              <a:rPr lang="cs-CZ" dirty="0"/>
              <a:t>.6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FE33647B-FFC0-498D-A736-D8FDA4999C7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7048029"/>
              </p:ext>
            </p:extLst>
          </p:nvPr>
        </p:nvGraphicFramePr>
        <p:xfrm>
          <a:off x="789093" y="1294100"/>
          <a:ext cx="5867621" cy="48979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515AB4C9-8201-4EF4-8F5A-295E7F0DF5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933247" y="6305866"/>
            <a:ext cx="39661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testů za uplynulých 7 dní na 100 000 obyvat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24D4CA-806E-46C0-9ABA-318659872C2E}"/>
              </a:ext>
            </a:extLst>
          </p:cNvPr>
          <p:cNvSpPr/>
          <p:nvPr/>
        </p:nvSpPr>
        <p:spPr>
          <a:xfrm rot="16200000">
            <a:off x="-1598476" y="3604566"/>
            <a:ext cx="439773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é případy za uplynulých 7 dní na 100 000 obyvate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C28872B-E8DB-4B58-9153-05E19E17BA1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 flipV="1">
            <a:off x="1135624" y="1275277"/>
            <a:ext cx="633602" cy="461063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0360BDA-3D64-4EBC-B4B9-D927DE78BCB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 flipV="1">
            <a:off x="1131343" y="1290759"/>
            <a:ext cx="980783" cy="459007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C55EFCF-151C-4EC1-990F-6CF69573F708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 flipV="1">
            <a:off x="1157848" y="1281920"/>
            <a:ext cx="1771963" cy="466001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6A899E35-AB2A-4C7C-8197-CFA3E7C373D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89093" y="790139"/>
            <a:ext cx="12207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zitivních záchytů 30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EAFF80-F593-4095-850E-94D0A1C8D91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977357" y="995731"/>
            <a:ext cx="13106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zitivních záchytů 10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CECCA1E-7D34-4DCE-8BBF-B2AFC15754F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950680" y="783496"/>
            <a:ext cx="11169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zitivních záchytů 20%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484942" y="2277501"/>
            <a:ext cx="396791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 grafické znázornění jsou vybrány okresy s nejvyššími</a:t>
            </a:r>
            <a:r>
              <a:rPr kumimoji="0" lang="cs-CZ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počty týdně nově diagnostikovaných případů na 100 tis. obyvatel, případně v kombinaci s hodnotou R &gt; 0,95 a/nebo s relativní pozitivitou všech indikovaných testů &gt; 4%.  </a:t>
            </a:r>
            <a:endParaRPr kumimoji="0" lang="cs-CZ" b="1" i="0" u="none" strike="sngStrike" kern="1200" cap="none" spc="0" normalizeH="0" noProof="0" dirty="0">
              <a:ln>
                <a:noFill/>
              </a:ln>
              <a:solidFill>
                <a:srgbClr val="FF0000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089304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94389" y="2"/>
            <a:ext cx="7574771" cy="576000"/>
          </a:xfrm>
        </p:spPr>
        <p:txBody>
          <a:bodyPr/>
          <a:lstStyle/>
          <a:p>
            <a:r>
              <a:rPr lang="cs-CZ" dirty="0" smtClean="0"/>
              <a:t>Okresy: </a:t>
            </a:r>
            <a:r>
              <a:rPr lang="cs-CZ" smtClean="0"/>
              <a:t>epidemiologicky indikované testy </a:t>
            </a:r>
            <a:r>
              <a:rPr lang="cs-CZ" dirty="0"/>
              <a:t>k 1</a:t>
            </a:r>
            <a:r>
              <a:rPr lang="en-US" dirty="0"/>
              <a:t>9</a:t>
            </a:r>
            <a:r>
              <a:rPr lang="cs-CZ" dirty="0"/>
              <a:t>.6.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05AB1DF6-5D1E-4263-9758-B54412569CB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1722083"/>
              </p:ext>
            </p:extLst>
          </p:nvPr>
        </p:nvGraphicFramePr>
        <p:xfrm>
          <a:off x="1516882" y="1238114"/>
          <a:ext cx="5867621" cy="48979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3AD3068-145F-4BFA-89C1-0DB3BDFBB8F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61036" y="6249880"/>
            <a:ext cx="39661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testů za uplynulých 7 dní na 100 000 obyvat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8B78486-59D0-40DC-8257-CDD6D2406FB2}"/>
              </a:ext>
            </a:extLst>
          </p:cNvPr>
          <p:cNvSpPr/>
          <p:nvPr/>
        </p:nvSpPr>
        <p:spPr>
          <a:xfrm rot="16200000">
            <a:off x="-870687" y="3548580"/>
            <a:ext cx="439773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é případy za uplynulých 7 dní na 100 000 obyvate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24E2873-99A9-4E6E-A167-C0A0DF70ECFD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 flipV="1">
            <a:off x="1863413" y="1292414"/>
            <a:ext cx="106064" cy="453750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EB4E96-CCC3-4679-AE84-53CA48C1B433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 flipV="1">
            <a:off x="1859132" y="1292414"/>
            <a:ext cx="268102" cy="45324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074579C-E094-4090-8EF5-EB9581DA08D6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 flipV="1">
            <a:off x="1885637" y="1292414"/>
            <a:ext cx="430371" cy="459353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6BFE66F-5379-42F8-8316-DB1370102D7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516882" y="734153"/>
            <a:ext cx="12207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zitivních záchytů 30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2A79F44-0FA5-4C3E-A22D-CC0D2ED9FF4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795372" y="724169"/>
            <a:ext cx="13106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zitivních záchytů 10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CBEE5AD-315C-47DF-9FE5-EF431313D0F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678469" y="727510"/>
            <a:ext cx="11169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zitivních záchytů 20%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484942" y="2277501"/>
            <a:ext cx="396791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 grafické znázornění jsou vybrány okresy s nejvyššími</a:t>
            </a:r>
            <a:r>
              <a:rPr kumimoji="0" lang="cs-CZ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počty týdně nově diagnostikovaných případů na 100 tis. obyvatel, případně v kombinaci s hodnotou R &gt; 0,95 a/nebo s relativní pozitivitou všech indikovaných testů &gt; 4%.  </a:t>
            </a:r>
            <a:endParaRPr kumimoji="0" lang="cs-CZ" b="1" i="0" u="none" strike="sngStrike" kern="1200" cap="none" spc="0" normalizeH="0" noProof="0" dirty="0">
              <a:ln>
                <a:noFill/>
              </a:ln>
              <a:solidFill>
                <a:srgbClr val="FF0000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83446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84001" y="1739629"/>
            <a:ext cx="11708186" cy="5232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 seniorních skupin obyvatel (70+) společně s přirozenou ochranou danou nedávno prodělaným onemocněním přesahuje 80 % daných populačních kohort. Tento fakt významně snižuje zátěž nemocnic, klesají  počty nově hospitalizovaných a potenciálně zranitelných pacientů. Kalkulováno na celé dospělé populaci ČR dosahuje tato ochrana téměř 60 %.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em 53,8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 osob ve věku 16+ je očkováno alespoň 1. dávkou,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8,5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 má očkování ukončené.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19.6. bylo 54,8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 osob ve věku 18+ je očkováno alespoň 1.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ávkou a 29,1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 má očkování ukončené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162240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významném zpomalení šíření epidemi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podstatně podílí postupující vakcinace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62240" y="620166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40345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590560" cy="576000"/>
          </a:xfrm>
        </p:spPr>
        <p:txBody>
          <a:bodyPr/>
          <a:lstStyle/>
          <a:p>
            <a:r>
              <a:rPr lang="cs-CZ" dirty="0"/>
              <a:t>Stav očkování obyvatel v ČR k 20. 6. 2021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43DEB4E0-C2B7-4E1B-8422-D7FAF9E7D74B}"/>
              </a:ext>
            </a:extLst>
          </p:cNvPr>
          <p:cNvSpPr/>
          <p:nvPr/>
        </p:nvSpPr>
        <p:spPr>
          <a:xfrm>
            <a:off x="3190753" y="6554824"/>
            <a:ext cx="59763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Centrální rezervační systém; ISIN / COVID-19 - Informační systém infekční nemoci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EE952BB-7354-4D89-8CC6-6BC3309A3CEC}"/>
              </a:ext>
            </a:extLst>
          </p:cNvPr>
          <p:cNvGraphicFramePr/>
          <p:nvPr>
            <p:extLst/>
          </p:nvPr>
        </p:nvGraphicFramePr>
        <p:xfrm>
          <a:off x="133350" y="701213"/>
          <a:ext cx="11837679" cy="58309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A16925BD-8B42-4997-8EF2-01B33424556B}"/>
              </a:ext>
            </a:extLst>
          </p:cNvPr>
          <p:cNvSpPr/>
          <p:nvPr/>
        </p:nvSpPr>
        <p:spPr>
          <a:xfrm>
            <a:off x="1928241" y="693969"/>
            <a:ext cx="86502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y na 100 obyvatel (% populace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ACF933FC-AC8B-4DCF-85AE-AB663C33441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896970" y="1873690"/>
          <a:ext cx="975360" cy="4392000"/>
        </p:xfrm>
        <a:graphic>
          <a:graphicData uri="http://schemas.openxmlformats.org/drawingml/2006/table">
            <a:tbl>
              <a:tblPr/>
              <a:tblGrid>
                <a:gridCol w="975360">
                  <a:extLst>
                    <a:ext uri="{9D8B030D-6E8A-4147-A177-3AD203B41FA5}">
                      <a16:colId xmlns:a16="http://schemas.microsoft.com/office/drawing/2014/main" val="2643709246"/>
                    </a:ext>
                  </a:extLst>
                </a:gridCol>
              </a:tblGrid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01 77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8468862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83 16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741383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78 18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1730508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 5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186940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8 37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547789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2 4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706972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5 46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4968834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 7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60546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1 08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3168544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2 58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991601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 3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0878997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3 3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901668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8 9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6830054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5 4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4077139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3 59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4096052"/>
                  </a:ext>
                </a:extLst>
              </a:tr>
            </a:tbl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95E84E81-91E5-46C2-9381-CDCE4FF5644A}"/>
              </a:ext>
            </a:extLst>
          </p:cNvPr>
          <p:cNvSpPr/>
          <p:nvPr/>
        </p:nvSpPr>
        <p:spPr>
          <a:xfrm>
            <a:off x="10898203" y="1428327"/>
            <a:ext cx="102964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byvatelstv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1. 1. 2021</a:t>
            </a:r>
            <a:endParaRPr kumimoji="0" lang="cs-CZ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F091EAC1-A8DA-420C-8D5B-8905D005F1B6}"/>
              </a:ext>
            </a:extLst>
          </p:cNvPr>
          <p:cNvSpPr/>
          <p:nvPr/>
        </p:nvSpPr>
        <p:spPr>
          <a:xfrm>
            <a:off x="4429003" y="1077652"/>
            <a:ext cx="23916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74FD9147-E57A-4764-BE0D-03259447DD56}"/>
              </a:ext>
            </a:extLst>
          </p:cNvPr>
          <p:cNvSpPr/>
          <p:nvPr/>
        </p:nvSpPr>
        <p:spPr>
          <a:xfrm>
            <a:off x="1390528" y="6296031"/>
            <a:ext cx="931216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 osoby, které nebyly očkovány a ani nejsou přihlášeny k očkování a kdykoliv v minulosti prodělali onemocnění COVID-19 podle dat ISIN</a:t>
            </a:r>
          </a:p>
        </p:txBody>
      </p:sp>
    </p:spTree>
    <p:extLst>
      <p:ext uri="{BB962C8B-B14F-4D97-AF65-F5344CB8AC3E}">
        <p14:creationId xmlns:p14="http://schemas.microsoft.com/office/powerpoint/2010/main" val="28413756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B4A77EAF-AE75-47F5-B960-B66348ACE12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586886" y="1439068"/>
          <a:ext cx="9114426" cy="4964784"/>
        </p:xfrm>
        <a:graphic>
          <a:graphicData uri="http://schemas.openxmlformats.org/drawingml/2006/table">
            <a:tbl>
              <a:tblPr/>
              <a:tblGrid>
                <a:gridCol w="1519071">
                  <a:extLst>
                    <a:ext uri="{9D8B030D-6E8A-4147-A177-3AD203B41FA5}">
                      <a16:colId xmlns:a16="http://schemas.microsoft.com/office/drawing/2014/main" val="1226077898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2732144968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2915147844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2358648847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3735266503"/>
                    </a:ext>
                  </a:extLst>
                </a:gridCol>
                <a:gridCol w="1519071">
                  <a:extLst>
                    <a:ext uri="{9D8B030D-6E8A-4147-A177-3AD203B41FA5}">
                      <a16:colId xmlns:a16="http://schemas.microsoft.com/office/drawing/2014/main" val="95562659"/>
                    </a:ext>
                  </a:extLst>
                </a:gridCol>
              </a:tblGrid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D2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1194081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ACE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E0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8022415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DC3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C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BF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7641876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EB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B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7669078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E8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E1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7697365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E4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1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6315555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E4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C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1123805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D3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6660727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F4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C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EA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1433266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4D2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4941763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C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E2C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5525382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F1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3204779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E6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F4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2698738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F7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9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EB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8370398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1642931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9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E2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072984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90686" y="759551"/>
          <a:ext cx="11215540" cy="5644303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315100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Kraj podle </a:t>
                      </a:r>
                    </a:p>
                    <a:p>
                      <a:pPr algn="l" fontAlgn="b"/>
                      <a:r>
                        <a:rPr lang="cs-CZ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ísta bydliště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16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365619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6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6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Hlavní město Pra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1 2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6 9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7 0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Střed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3 9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3 9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 7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4 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 5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4 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</a:rPr>
                        <a:t>Plzeňs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3 0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 3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 6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arlovar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 9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 5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 1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Úst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7 3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 2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7 7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Liber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5 5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 8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 8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álovéhrad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9 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 3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 6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Pardubi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4 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 6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4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aj Vysočin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 0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 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 2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morav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0 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0 8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2 3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Olomou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5 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 5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 4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Zlín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5 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 0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 6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effectLst/>
                        </a:rPr>
                        <a:t>Moravskoslez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7 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5 9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7 9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28992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neuvedeno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78 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78 1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1 7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6 a více let – přehled podle regionů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. 6. 2021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490686" y="6433516"/>
            <a:ext cx="10910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em bylo u osob ve věku 16+ aplikováno </a:t>
            </a:r>
            <a:r>
              <a:rPr kumimoji="0" lang="pl-PL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229 505 dávek, z toho 2 531 755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sou dávky druhé/konečné. 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40903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LIDEID" val="1503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LIDEID" val="1503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1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9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7.xml><?xml version="1.0" encoding="utf-8"?>
<a:theme xmlns:a="http://schemas.openxmlformats.org/drawingml/2006/main" name="1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8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9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580</TotalTime>
  <Words>7476</Words>
  <Application>Microsoft Office PowerPoint</Application>
  <PresentationFormat>Širokoúhlá obrazovka</PresentationFormat>
  <Paragraphs>2315</Paragraphs>
  <Slides>66</Slides>
  <Notes>27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10</vt:i4>
      </vt:variant>
      <vt:variant>
        <vt:lpstr>Nadpisy snímků</vt:lpstr>
      </vt:variant>
      <vt:variant>
        <vt:i4>66</vt:i4>
      </vt:variant>
    </vt:vector>
  </HeadingPairs>
  <TitlesOfParts>
    <vt:vector size="82" baseType="lpstr">
      <vt:lpstr>Times New Roman</vt:lpstr>
      <vt:lpstr>Arial (Základní text)</vt:lpstr>
      <vt:lpstr>Segoe UI</vt:lpstr>
      <vt:lpstr>Calibri Light</vt:lpstr>
      <vt:lpstr>Arial</vt:lpstr>
      <vt:lpstr>Calibri</vt:lpstr>
      <vt:lpstr>1_Motiv Office</vt:lpstr>
      <vt:lpstr>3_Motiv Office</vt:lpstr>
      <vt:lpstr>7_Motiv Office</vt:lpstr>
      <vt:lpstr>12_Motiv Office</vt:lpstr>
      <vt:lpstr>Motiv Office</vt:lpstr>
      <vt:lpstr>9_Motiv Office</vt:lpstr>
      <vt:lpstr>13_Motiv Office</vt:lpstr>
      <vt:lpstr>8_Motiv Office</vt:lpstr>
      <vt:lpstr>5_Motiv Office</vt:lpstr>
      <vt:lpstr>2_Motiv Office</vt:lpstr>
      <vt:lpstr>Datová a informační základna  pro management pandemie COVID-19</vt:lpstr>
      <vt:lpstr>Prezentace aplikace PowerPoint</vt:lpstr>
      <vt:lpstr>Počty COVID-19 pozitivních v ČR na 100 000 v populaci</vt:lpstr>
      <vt:lpstr>Počty COVID-19 pozitivních v ČR na 100 000 v populaci</vt:lpstr>
      <vt:lpstr>Prezentace aplikace PowerPoint</vt:lpstr>
      <vt:lpstr>Prezentace aplikace PowerPoint</vt:lpstr>
      <vt:lpstr>Prezentace aplikace PowerPoint</vt:lpstr>
      <vt:lpstr>Stav očkování obyvatel v ČR k 20. 6. 2021</vt:lpstr>
      <vt:lpstr>Očkovaní 16 a více let – přehled podle regionů</vt:lpstr>
      <vt:lpstr>Očkovaní 18 a více let – přehled podle regionů</vt:lpstr>
      <vt:lpstr>Očkování podle věku – aplikované dávky v čase</vt:lpstr>
      <vt:lpstr>Datová a informační základna  pro management pandemie COVID-19</vt:lpstr>
      <vt:lpstr>Prezentace aplikace PowerPoint</vt:lpstr>
      <vt:lpstr>7 denní počet nových případů (na 100 000 obyv.) v okresech</vt:lpstr>
      <vt:lpstr>7 denní počet nových případů (na 100 000 obyv.) v ORP</vt:lpstr>
      <vt:lpstr>Zátěž regionů ve vzájemném srovnání krajů k 20.6.</vt:lpstr>
      <vt:lpstr>Vybrané ukazatele – srovnání regionů (14denní data)</vt:lpstr>
      <vt:lpstr>Vybrané ukazatele – srovnání regionů (7denní data)</vt:lpstr>
      <vt:lpstr>R (zjednodušený výpočet) - 7 denní úseky: srovnání krajů k 19.6.</vt:lpstr>
      <vt:lpstr>Relativní pozitivita testů s diagnostickou/epidemiologickou indikací za 7 dní</vt:lpstr>
      <vt:lpstr>Nové symptomatické případy za 7 dní na 100 000 obyvatel</vt:lpstr>
      <vt:lpstr>Prezentace aplikace PowerPoint</vt:lpstr>
      <vt:lpstr>Prezentace aplikace PowerPoint</vt:lpstr>
      <vt:lpstr>Nové případy za 7 dní na 100 000 obyvatel: 20 okresů s nejvyššími hodnotami k 19.6.</vt:lpstr>
      <vt:lpstr>Nové případy za 7 dní na 100 000 obyvatel: 20 okresů s nejvyššími hodnotami k 19.6.</vt:lpstr>
      <vt:lpstr>20 okresů s nejvyššími hodnotami R k 19.6. a jejich celková populační zátěž </vt:lpstr>
      <vt:lpstr>Přehled okresů s potenciálně rizikovými epidemickými hodnotami  (kalkulace s hranicí týdenního záchytu 25 případů / 100tis. obyv.)</vt:lpstr>
      <vt:lpstr>Přehled ORP s potenciálně rizikovými epidemickými hodnotami (kalkulace s hranicí týdenního záchytu 25 případů / 100tis. obyv.)</vt:lpstr>
      <vt:lpstr>Přehled okresů s potenciálně rizikovými epidemickými hodnotami  (kalkulace s hranicí týdenního záchytu 12,5 případů / 100tis. obyv.)</vt:lpstr>
      <vt:lpstr>Přehled ORP s potenciálně rizikovými epidemickými hodnotami  (kalkulace s hranicí týdenního záchytu 12,5 případů / 100tis. obyv.)</vt:lpstr>
      <vt:lpstr>Přehled ORP s potenciálně rizikovými epidemickými hodnotami  (kalkulace s hranicí týdenního záchytu 12,5 případů / 100tis. obyv.)</vt:lpstr>
      <vt:lpstr>Datová a informační základna  pro management pandemie COVID-19</vt:lpstr>
      <vt:lpstr>Prezentace aplikace PowerPoint</vt:lpstr>
      <vt:lpstr>Prezentace aplikace PowerPoint</vt:lpstr>
      <vt:lpstr>Modelové scénáře: 7denní hodnoty na 100 tisíc obyvatel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Národní dispečink lůžkové péče</vt:lpstr>
      <vt:lpstr>Národní dispečink lůžkové péče</vt:lpstr>
      <vt:lpstr>Datová a informační základna  pro management pandemie COVID-19</vt:lpstr>
      <vt:lpstr>Počty realizovaných PCR testů v čase </vt:lpstr>
      <vt:lpstr>Počty realizovaných AG testů v čase</vt:lpstr>
      <vt:lpstr>Typologie pozitivních případů</vt:lpstr>
      <vt:lpstr>Podíl pozitivních testů: diagnostické a klinické indikace </vt:lpstr>
      <vt:lpstr>Podíl pozitivních testů: epidemiologické indikace</vt:lpstr>
      <vt:lpstr>Počty nově COVID-19 pozitivních na 100 testů u dětí v čase</vt:lpstr>
      <vt:lpstr>Počty nově COVID-19 pozitivních na 100 testů u dospělých v čase</vt:lpstr>
      <vt:lpstr>Datová a informační základna  pro management pandemie COVID-19</vt:lpstr>
      <vt:lpstr>Nákazy po vakcinaci za poslední měsíc a za poslední týden k 19. 6. 2021 </vt:lpstr>
      <vt:lpstr>Opakované nákazy (reinfekce) za poslední měsíc a týden k 19. 6. 2021</vt:lpstr>
      <vt:lpstr>Mutace (hlášené podezření) za poslední měsíc a týden k 19. 6. 2021</vt:lpstr>
      <vt:lpstr>Záchyty přímo v nemocnicích bez předchozí diagnostiky za poslední měsíc a týden k 19. 6. 2021</vt:lpstr>
      <vt:lpstr>Vysoce rizikové nákazy za poslední měsíc a týden k 19. 6. 2021</vt:lpstr>
      <vt:lpstr>Datová a informační základna  pro management pandemie COVID-19</vt:lpstr>
      <vt:lpstr>Rizikové charakteristiky: ČR a regiony k datu 19.6.2021</vt:lpstr>
      <vt:lpstr>Rizikové charakteristiky: vybrané okresy k 19.6.2021</vt:lpstr>
      <vt:lpstr>Rizikové charakteristiky: vybrané okresy k 19.6 2021</vt:lpstr>
      <vt:lpstr>Pozice krajů a okresů: 7denního počet nových případů</vt:lpstr>
      <vt:lpstr>Kraje: diagnostické a klinické testy k 19.6</vt:lpstr>
      <vt:lpstr>Kraje: epidemiologické testy k 19.6.</vt:lpstr>
      <vt:lpstr>Kraje: veškeré indikované testy k 19.6.</vt:lpstr>
      <vt:lpstr>Okresy: diagnostické a klinické testy k 19.6</vt:lpstr>
      <vt:lpstr>Okresy: epidemiologicky indikované testy k 19.6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Ladislav Dušek</cp:lastModifiedBy>
  <cp:revision>1038</cp:revision>
  <dcterms:created xsi:type="dcterms:W3CDTF">2020-11-11T17:36:28Z</dcterms:created>
  <dcterms:modified xsi:type="dcterms:W3CDTF">2021-06-21T18:52:41Z</dcterms:modified>
</cp:coreProperties>
</file>